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5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60.xml" ContentType="application/vnd.openxmlformats-officedocument.presentationml.tags+xml"/>
  <Override PartName="/ppt/notesSlides/notesSlide15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4" r:id="rId16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59.xml" Id="rId162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9.xml.rels>&#65279;<?xml version="1.0" encoding="utf-8"?><Relationships xmlns="http://schemas.openxmlformats.org/package/2006/relationships"><Relationship Type="http://schemas.openxmlformats.org/officeDocument/2006/relationships/slide" Target="/ppt/slides/slide159.xml" Id="rId2" /><Relationship Type="http://schemas.openxmlformats.org/officeDocument/2006/relationships/notesMaster" Target="/ppt/notesMasters/notesMaster1.xml" Id="rId1" /></Relationships>
</file>

<file path=ppt/notesSlides/notesSlide1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40919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60.xml" Id="rId2" /><Relationship Type="http://schemas.openxmlformats.org/officeDocument/2006/relationships/vmlDrawing" Target="/ppt/drawings/vmlDrawing16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63.bin" Id="rId5" /><Relationship Type="http://schemas.openxmlformats.org/officeDocument/2006/relationships/notesSlide" Target="/ppt/notesSlides/notesSlide159.xml" Id="rId4" /></Relationships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15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C320E28-E52F-6719-7661-3D6755F2066C}"/>
              </a:ext>
            </a:extLst>
          </p:cNvPr>
          <p:cNvGrpSpPr>
            <a:grpSpLocks/>
          </p:cNvGrpSpPr>
          <p:nvPr/>
        </p:nvGrpSpPr>
        <p:grpSpPr>
          <a:xfrm>
            <a:off x="6481080" y="1582002"/>
            <a:ext cx="2305037" cy="2304230"/>
            <a:chOff x="6481080" y="1248627"/>
            <a:chExt cx="2305037" cy="2304230"/>
          </a:xfrm>
        </p:grpSpPr>
        <p:grpSp>
          <p:nvGrpSpPr>
            <p:cNvPr id="9" name="Gruppieren 318">
              <a:extLst>
                <a:ext uri="{FF2B5EF4-FFF2-40B4-BE49-F238E27FC236}">
                  <a16:creationId xmlns:a16="http://schemas.microsoft.com/office/drawing/2014/main" id="{04ECF1CA-6F36-2760-02A3-59187FF818DA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81080" y="1248627"/>
              <a:ext cx="2305037" cy="2304230"/>
              <a:chOff x="1788583" y="7153887"/>
              <a:chExt cx="1224994" cy="1224676"/>
            </a:xfrm>
            <a:solidFill>
              <a:schemeClr val="bg2"/>
            </a:solidFill>
          </p:grpSpPr>
          <p:sp>
            <p:nvSpPr>
              <p:cNvPr id="11" name="Freihandform: Form 205">
                <a:extLst>
                  <a:ext uri="{FF2B5EF4-FFF2-40B4-BE49-F238E27FC236}">
                    <a16:creationId xmlns:a16="http://schemas.microsoft.com/office/drawing/2014/main" id="{FC8DB9D1-7449-3C2A-E823-77A838F985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788583" y="7153887"/>
                <a:ext cx="593989" cy="902308"/>
              </a:xfrm>
              <a:custGeom>
                <a:avLst/>
                <a:gdLst>
                  <a:gd name="connsiteX0" fmla="*/ 271701 w 593989"/>
                  <a:gd name="connsiteY0" fmla="*/ 276728 h 902308"/>
                  <a:gd name="connsiteX1" fmla="*/ 593990 w 593989"/>
                  <a:gd name="connsiteY1" fmla="*/ 134117 h 902308"/>
                  <a:gd name="connsiteX2" fmla="*/ 593990 w 593989"/>
                  <a:gd name="connsiteY2" fmla="*/ 0 h 902308"/>
                  <a:gd name="connsiteX3" fmla="*/ 0 w 593989"/>
                  <a:gd name="connsiteY3" fmla="*/ 612193 h 902308"/>
                  <a:gd name="connsiteX4" fmla="*/ 72972 w 593989"/>
                  <a:gd name="connsiteY4" fmla="*/ 902309 h 902308"/>
                  <a:gd name="connsiteX5" fmla="*/ 189283 w 593989"/>
                  <a:gd name="connsiteY5" fmla="*/ 835157 h 902308"/>
                  <a:gd name="connsiteX6" fmla="*/ 134038 w 593989"/>
                  <a:gd name="connsiteY6" fmla="*/ 612193 h 902308"/>
                  <a:gd name="connsiteX7" fmla="*/ 271674 w 593989"/>
                  <a:gd name="connsiteY7" fmla="*/ 276728 h 90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3989" h="902308">
                    <a:moveTo>
                      <a:pt x="271701" y="276728"/>
                    </a:moveTo>
                    <a:cubicBezTo>
                      <a:pt x="357902" y="189177"/>
                      <a:pt x="472017" y="138774"/>
                      <a:pt x="593990" y="134117"/>
                    </a:cubicBezTo>
                    <a:lnTo>
                      <a:pt x="593990" y="0"/>
                    </a:lnTo>
                    <a:cubicBezTo>
                      <a:pt x="265483" y="9843"/>
                      <a:pt x="0" y="282258"/>
                      <a:pt x="0" y="612193"/>
                    </a:cubicBezTo>
                    <a:cubicBezTo>
                      <a:pt x="0" y="713528"/>
                      <a:pt x="25215" y="813594"/>
                      <a:pt x="72972" y="902309"/>
                    </a:cubicBezTo>
                    <a:lnTo>
                      <a:pt x="189283" y="835157"/>
                    </a:lnTo>
                    <a:cubicBezTo>
                      <a:pt x="153114" y="766736"/>
                      <a:pt x="134038" y="689875"/>
                      <a:pt x="134038" y="612193"/>
                    </a:cubicBezTo>
                    <a:cubicBezTo>
                      <a:pt x="134038" y="486013"/>
                      <a:pt x="182906" y="366871"/>
                      <a:pt x="271674" y="27672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ihandform: Form 209">
                <a:extLst>
                  <a:ext uri="{FF2B5EF4-FFF2-40B4-BE49-F238E27FC236}">
                    <a16:creationId xmlns:a16="http://schemas.microsoft.com/office/drawing/2014/main" id="{146F2D73-D718-7501-A56D-77E7DAA2FC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59689" y="7325098"/>
                <a:ext cx="422883" cy="645398"/>
              </a:xfrm>
              <a:custGeom>
                <a:avLst/>
                <a:gdLst>
                  <a:gd name="connsiteX0" fmla="*/ 0 w 422883"/>
                  <a:gd name="connsiteY0" fmla="*/ 440981 h 645398"/>
                  <a:gd name="connsiteX1" fmla="*/ 50297 w 422883"/>
                  <a:gd name="connsiteY1" fmla="*/ 645398 h 645398"/>
                  <a:gd name="connsiteX2" fmla="*/ 422884 w 422883"/>
                  <a:gd name="connsiteY2" fmla="*/ 430292 h 645398"/>
                  <a:gd name="connsiteX3" fmla="*/ 422884 w 422883"/>
                  <a:gd name="connsiteY3" fmla="*/ 0 h 645398"/>
                  <a:gd name="connsiteX4" fmla="*/ 0 w 422883"/>
                  <a:gd name="connsiteY4" fmla="*/ 440981 h 645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2883" h="645398">
                    <a:moveTo>
                      <a:pt x="0" y="440981"/>
                    </a:moveTo>
                    <a:cubicBezTo>
                      <a:pt x="0" y="512154"/>
                      <a:pt x="17357" y="582613"/>
                      <a:pt x="50297" y="645398"/>
                    </a:cubicBezTo>
                    <a:lnTo>
                      <a:pt x="422884" y="430292"/>
                    </a:lnTo>
                    <a:lnTo>
                      <a:pt x="422884" y="0"/>
                    </a:lnTo>
                    <a:cubicBezTo>
                      <a:pt x="188727" y="9790"/>
                      <a:pt x="0" y="205396"/>
                      <a:pt x="0" y="440981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ihandform: Form 214">
                <a:extLst>
                  <a:ext uri="{FF2B5EF4-FFF2-40B4-BE49-F238E27FC236}">
                    <a16:creationId xmlns:a16="http://schemas.microsoft.com/office/drawing/2014/main" id="{34BDE837-3DCE-2054-4BD7-2BE819A58C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19614" y="7153887"/>
                <a:ext cx="593963" cy="902308"/>
              </a:xfrm>
              <a:custGeom>
                <a:avLst/>
                <a:gdLst>
                  <a:gd name="connsiteX0" fmla="*/ 0 w 593963"/>
                  <a:gd name="connsiteY0" fmla="*/ 0 h 902308"/>
                  <a:gd name="connsiteX1" fmla="*/ 0 w 593963"/>
                  <a:gd name="connsiteY1" fmla="*/ 134117 h 902308"/>
                  <a:gd name="connsiteX2" fmla="*/ 322289 w 593963"/>
                  <a:gd name="connsiteY2" fmla="*/ 276728 h 902308"/>
                  <a:gd name="connsiteX3" fmla="*/ 459925 w 593963"/>
                  <a:gd name="connsiteY3" fmla="*/ 612193 h 902308"/>
                  <a:gd name="connsiteX4" fmla="*/ 404680 w 593963"/>
                  <a:gd name="connsiteY4" fmla="*/ 835157 h 902308"/>
                  <a:gd name="connsiteX5" fmla="*/ 520991 w 593963"/>
                  <a:gd name="connsiteY5" fmla="*/ 902309 h 902308"/>
                  <a:gd name="connsiteX6" fmla="*/ 593963 w 593963"/>
                  <a:gd name="connsiteY6" fmla="*/ 612193 h 902308"/>
                  <a:gd name="connsiteX7" fmla="*/ 0 w 593963"/>
                  <a:gd name="connsiteY7" fmla="*/ 0 h 90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3963" h="902308">
                    <a:moveTo>
                      <a:pt x="0" y="0"/>
                    </a:moveTo>
                    <a:lnTo>
                      <a:pt x="0" y="134117"/>
                    </a:lnTo>
                    <a:cubicBezTo>
                      <a:pt x="121999" y="138774"/>
                      <a:pt x="236088" y="189177"/>
                      <a:pt x="322289" y="276728"/>
                    </a:cubicBezTo>
                    <a:cubicBezTo>
                      <a:pt x="411030" y="366871"/>
                      <a:pt x="459925" y="486013"/>
                      <a:pt x="459925" y="612193"/>
                    </a:cubicBezTo>
                    <a:cubicBezTo>
                      <a:pt x="459925" y="689875"/>
                      <a:pt x="440849" y="766736"/>
                      <a:pt x="404680" y="835157"/>
                    </a:cubicBezTo>
                    <a:lnTo>
                      <a:pt x="520991" y="902309"/>
                    </a:lnTo>
                    <a:cubicBezTo>
                      <a:pt x="568748" y="813594"/>
                      <a:pt x="593963" y="713528"/>
                      <a:pt x="593963" y="612193"/>
                    </a:cubicBezTo>
                    <a:cubicBezTo>
                      <a:pt x="593990" y="282258"/>
                      <a:pt x="328507" y="9843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ihandform: Form 220">
                <a:extLst>
                  <a:ext uri="{FF2B5EF4-FFF2-40B4-BE49-F238E27FC236}">
                    <a16:creationId xmlns:a16="http://schemas.microsoft.com/office/drawing/2014/main" id="{3FBD989E-54B5-D879-C2FB-F10099BCB2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19614" y="7325098"/>
                <a:ext cx="422883" cy="645398"/>
              </a:xfrm>
              <a:custGeom>
                <a:avLst/>
                <a:gdLst>
                  <a:gd name="connsiteX0" fmla="*/ 0 w 422883"/>
                  <a:gd name="connsiteY0" fmla="*/ 0 h 645398"/>
                  <a:gd name="connsiteX1" fmla="*/ 0 w 422883"/>
                  <a:gd name="connsiteY1" fmla="*/ 430292 h 645398"/>
                  <a:gd name="connsiteX2" fmla="*/ 372586 w 422883"/>
                  <a:gd name="connsiteY2" fmla="*/ 645398 h 645398"/>
                  <a:gd name="connsiteX3" fmla="*/ 422883 w 422883"/>
                  <a:gd name="connsiteY3" fmla="*/ 440981 h 645398"/>
                  <a:gd name="connsiteX4" fmla="*/ 0 w 422883"/>
                  <a:gd name="connsiteY4" fmla="*/ 0 h 645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2883" h="645398">
                    <a:moveTo>
                      <a:pt x="0" y="0"/>
                    </a:moveTo>
                    <a:lnTo>
                      <a:pt x="0" y="430292"/>
                    </a:lnTo>
                    <a:lnTo>
                      <a:pt x="372586" y="645398"/>
                    </a:lnTo>
                    <a:cubicBezTo>
                      <a:pt x="405527" y="582586"/>
                      <a:pt x="422883" y="512154"/>
                      <a:pt x="422883" y="440981"/>
                    </a:cubicBezTo>
                    <a:cubicBezTo>
                      <a:pt x="422883" y="205396"/>
                      <a:pt x="234156" y="9790"/>
                      <a:pt x="0" y="0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ihandform: Form 221">
                <a:extLst>
                  <a:ext uri="{FF2B5EF4-FFF2-40B4-BE49-F238E27FC236}">
                    <a16:creationId xmlns:a16="http://schemas.microsoft.com/office/drawing/2014/main" id="{AB3FA565-83D4-052C-F933-2215C87564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80049" y="8021085"/>
                <a:ext cx="1041982" cy="357478"/>
              </a:xfrm>
              <a:custGeom>
                <a:avLst/>
                <a:gdLst>
                  <a:gd name="connsiteX0" fmla="*/ 925698 w 1041982"/>
                  <a:gd name="connsiteY0" fmla="*/ 0 h 357478"/>
                  <a:gd name="connsiteX1" fmla="*/ 759883 w 1041982"/>
                  <a:gd name="connsiteY1" fmla="*/ 159438 h 357478"/>
                  <a:gd name="connsiteX2" fmla="*/ 521017 w 1041982"/>
                  <a:gd name="connsiteY2" fmla="*/ 223441 h 357478"/>
                  <a:gd name="connsiteX3" fmla="*/ 282152 w 1041982"/>
                  <a:gd name="connsiteY3" fmla="*/ 159438 h 357478"/>
                  <a:gd name="connsiteX4" fmla="*/ 116337 w 1041982"/>
                  <a:gd name="connsiteY4" fmla="*/ 0 h 357478"/>
                  <a:gd name="connsiteX5" fmla="*/ 0 w 1041982"/>
                  <a:gd name="connsiteY5" fmla="*/ 67151 h 357478"/>
                  <a:gd name="connsiteX6" fmla="*/ 520991 w 1041982"/>
                  <a:gd name="connsiteY6" fmla="*/ 357479 h 357478"/>
                  <a:gd name="connsiteX7" fmla="*/ 1041982 w 1041982"/>
                  <a:gd name="connsiteY7" fmla="*/ 67151 h 357478"/>
                  <a:gd name="connsiteX8" fmla="*/ 925645 w 1041982"/>
                  <a:gd name="connsiteY8" fmla="*/ 0 h 357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1982" h="357478">
                    <a:moveTo>
                      <a:pt x="925698" y="0"/>
                    </a:moveTo>
                    <a:cubicBezTo>
                      <a:pt x="884211" y="65590"/>
                      <a:pt x="827087" y="120571"/>
                      <a:pt x="759883" y="159438"/>
                    </a:cubicBezTo>
                    <a:cubicBezTo>
                      <a:pt x="687520" y="201321"/>
                      <a:pt x="604917" y="223441"/>
                      <a:pt x="521017" y="223441"/>
                    </a:cubicBezTo>
                    <a:cubicBezTo>
                      <a:pt x="437118" y="223441"/>
                      <a:pt x="354542" y="201321"/>
                      <a:pt x="282152" y="159438"/>
                    </a:cubicBezTo>
                    <a:cubicBezTo>
                      <a:pt x="214974" y="120571"/>
                      <a:pt x="157824" y="65590"/>
                      <a:pt x="116337" y="0"/>
                    </a:cubicBezTo>
                    <a:lnTo>
                      <a:pt x="0" y="67151"/>
                    </a:lnTo>
                    <a:cubicBezTo>
                      <a:pt x="111204" y="246512"/>
                      <a:pt x="309827" y="357479"/>
                      <a:pt x="520991" y="357479"/>
                    </a:cubicBezTo>
                    <a:cubicBezTo>
                      <a:pt x="732155" y="357479"/>
                      <a:pt x="930778" y="246512"/>
                      <a:pt x="1041982" y="67151"/>
                    </a:cubicBezTo>
                    <a:lnTo>
                      <a:pt x="925645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ihandform: Form 255">
                <a:extLst>
                  <a:ext uri="{FF2B5EF4-FFF2-40B4-BE49-F238E27FC236}">
                    <a16:creationId xmlns:a16="http://schemas.microsoft.com/office/drawing/2014/main" id="{A97F3663-AAC4-61F6-843D-D767A805C8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28533" y="7787484"/>
                <a:ext cx="745119" cy="419999"/>
              </a:xfrm>
              <a:custGeom>
                <a:avLst/>
                <a:gdLst>
                  <a:gd name="connsiteX0" fmla="*/ 372560 w 745119"/>
                  <a:gd name="connsiteY0" fmla="*/ 420000 h 419999"/>
                  <a:gd name="connsiteX1" fmla="*/ 745120 w 745119"/>
                  <a:gd name="connsiteY1" fmla="*/ 215080 h 419999"/>
                  <a:gd name="connsiteX2" fmla="*/ 372560 w 745119"/>
                  <a:gd name="connsiteY2" fmla="*/ 0 h 419999"/>
                  <a:gd name="connsiteX3" fmla="*/ 0 w 745119"/>
                  <a:gd name="connsiteY3" fmla="*/ 215080 h 419999"/>
                  <a:gd name="connsiteX4" fmla="*/ 372560 w 745119"/>
                  <a:gd name="connsiteY4" fmla="*/ 420000 h 419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5119" h="419999">
                    <a:moveTo>
                      <a:pt x="372560" y="420000"/>
                    </a:moveTo>
                    <a:cubicBezTo>
                      <a:pt x="522605" y="420000"/>
                      <a:pt x="664369" y="341736"/>
                      <a:pt x="745120" y="215080"/>
                    </a:cubicBezTo>
                    <a:lnTo>
                      <a:pt x="372560" y="0"/>
                    </a:lnTo>
                    <a:lnTo>
                      <a:pt x="0" y="215080"/>
                    </a:lnTo>
                    <a:cubicBezTo>
                      <a:pt x="80751" y="341762"/>
                      <a:pt x="222515" y="420000"/>
                      <a:pt x="372560" y="420000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9" name="Textfeld 2">
              <a:extLst>
                <a:ext uri="{FF2B5EF4-FFF2-40B4-BE49-F238E27FC236}">
                  <a16:creationId xmlns:a16="http://schemas.microsoft.com/office/drawing/2014/main" id="{51A39190-58CB-B852-8139-D088A90570A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6617785" y="1368073"/>
              <a:ext cx="2047643" cy="206533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le segments II</a:t>
            </a:r>
          </a:p>
        </p:txBody>
      </p:sp>
      <p:grpSp>
        <p:nvGrpSpPr>
          <p:cNvPr id="17" name="Gruppieren 319">
            <a:extLst>
              <a:ext uri="{FF2B5EF4-FFF2-40B4-BE49-F238E27FC236}">
                <a16:creationId xmlns:a16="http://schemas.microsoft.com/office/drawing/2014/main" id="{CBB85FE6-F87B-AFDA-939C-71C704936BDB}"/>
              </a:ext>
            </a:extLst>
          </p:cNvPr>
          <p:cNvGrpSpPr>
            <a:grpSpLocks/>
          </p:cNvGrpSpPr>
          <p:nvPr/>
        </p:nvGrpSpPr>
        <p:grpSpPr>
          <a:xfrm>
            <a:off x="9502984" y="1582001"/>
            <a:ext cx="2305040" cy="2304224"/>
            <a:chOff x="3577484" y="7153887"/>
            <a:chExt cx="1224412" cy="1224385"/>
          </a:xfrm>
          <a:solidFill>
            <a:schemeClr val="bg2"/>
          </a:solidFill>
        </p:grpSpPr>
        <p:sp>
          <p:nvSpPr>
            <p:cNvPr id="18" name="Freihandform: Form 256">
              <a:extLst>
                <a:ext uri="{FF2B5EF4-FFF2-40B4-BE49-F238E27FC236}">
                  <a16:creationId xmlns:a16="http://schemas.microsoft.com/office/drawing/2014/main" id="{897575B5-2D00-7A65-12DC-72F20B131C7E}"/>
                </a:ext>
              </a:extLst>
            </p:cNvPr>
            <p:cNvSpPr>
              <a:spLocks/>
            </p:cNvSpPr>
            <p:nvPr/>
          </p:nvSpPr>
          <p:spPr>
            <a:xfrm>
              <a:off x="3748669" y="7325072"/>
              <a:ext cx="422486" cy="422486"/>
            </a:xfrm>
            <a:custGeom>
              <a:avLst/>
              <a:gdLst>
                <a:gd name="connsiteX0" fmla="*/ 0 w 422486"/>
                <a:gd name="connsiteY0" fmla="*/ 422487 h 422486"/>
                <a:gd name="connsiteX1" fmla="*/ 422487 w 422486"/>
                <a:gd name="connsiteY1" fmla="*/ 422487 h 422486"/>
                <a:gd name="connsiteX2" fmla="*/ 422487 w 422486"/>
                <a:gd name="connsiteY2" fmla="*/ 0 h 422486"/>
                <a:gd name="connsiteX3" fmla="*/ 0 w 422486"/>
                <a:gd name="connsiteY3" fmla="*/ 422487 h 42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486" h="422486">
                  <a:moveTo>
                    <a:pt x="0" y="422487"/>
                  </a:moveTo>
                  <a:lnTo>
                    <a:pt x="422487" y="422487"/>
                  </a:lnTo>
                  <a:lnTo>
                    <a:pt x="422487" y="0"/>
                  </a:lnTo>
                  <a:cubicBezTo>
                    <a:pt x="192167" y="9446"/>
                    <a:pt x="9446" y="192167"/>
                    <a:pt x="0" y="422487"/>
                  </a:cubicBezTo>
                  <a:close/>
                </a:path>
              </a:pathLst>
            </a:custGeom>
            <a:grpFill/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257">
              <a:extLst>
                <a:ext uri="{FF2B5EF4-FFF2-40B4-BE49-F238E27FC236}">
                  <a16:creationId xmlns:a16="http://schemas.microsoft.com/office/drawing/2014/main" id="{08F21183-C488-F140-5CDE-A10C26C902C2}"/>
                </a:ext>
              </a:extLst>
            </p:cNvPr>
            <p:cNvSpPr>
              <a:spLocks/>
            </p:cNvSpPr>
            <p:nvPr/>
          </p:nvSpPr>
          <p:spPr>
            <a:xfrm>
              <a:off x="3577484" y="7153887"/>
              <a:ext cx="593672" cy="593672"/>
            </a:xfrm>
            <a:custGeom>
              <a:avLst/>
              <a:gdLst>
                <a:gd name="connsiteX0" fmla="*/ 593672 w 593672"/>
                <a:gd name="connsiteY0" fmla="*/ 134117 h 593672"/>
                <a:gd name="connsiteX1" fmla="*/ 593672 w 593672"/>
                <a:gd name="connsiteY1" fmla="*/ 0 h 593672"/>
                <a:gd name="connsiteX2" fmla="*/ 0 w 593672"/>
                <a:gd name="connsiteY2" fmla="*/ 593672 h 593672"/>
                <a:gd name="connsiteX3" fmla="*/ 134117 w 593672"/>
                <a:gd name="connsiteY3" fmla="*/ 593672 h 593672"/>
                <a:gd name="connsiteX4" fmla="*/ 274029 w 593672"/>
                <a:gd name="connsiteY4" fmla="*/ 274055 h 593672"/>
                <a:gd name="connsiteX5" fmla="*/ 593646 w 593672"/>
                <a:gd name="connsiteY5" fmla="*/ 134144 h 59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72" h="593672">
                  <a:moveTo>
                    <a:pt x="593672" y="134117"/>
                  </a:moveTo>
                  <a:lnTo>
                    <a:pt x="593672" y="0"/>
                  </a:lnTo>
                  <a:cubicBezTo>
                    <a:pt x="267441" y="9551"/>
                    <a:pt x="9551" y="267441"/>
                    <a:pt x="0" y="593672"/>
                  </a:cubicBezTo>
                  <a:lnTo>
                    <a:pt x="134117" y="593672"/>
                  </a:lnTo>
                  <a:cubicBezTo>
                    <a:pt x="138721" y="473075"/>
                    <a:pt x="188172" y="359913"/>
                    <a:pt x="274029" y="274055"/>
                  </a:cubicBezTo>
                  <a:cubicBezTo>
                    <a:pt x="359886" y="188198"/>
                    <a:pt x="473049" y="138748"/>
                    <a:pt x="593646" y="134144"/>
                  </a:cubicBez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ihandform: Form 258">
              <a:extLst>
                <a:ext uri="{FF2B5EF4-FFF2-40B4-BE49-F238E27FC236}">
                  <a16:creationId xmlns:a16="http://schemas.microsoft.com/office/drawing/2014/main" id="{3CACE6F9-EF06-4FD9-B490-3D7188F9B9C6}"/>
                </a:ext>
              </a:extLst>
            </p:cNvPr>
            <p:cNvSpPr>
              <a:spLocks/>
            </p:cNvSpPr>
            <p:nvPr/>
          </p:nvSpPr>
          <p:spPr>
            <a:xfrm>
              <a:off x="4208197" y="7153887"/>
              <a:ext cx="593672" cy="593672"/>
            </a:xfrm>
            <a:custGeom>
              <a:avLst/>
              <a:gdLst>
                <a:gd name="connsiteX0" fmla="*/ 459555 w 593672"/>
                <a:gd name="connsiteY0" fmla="*/ 593672 h 593672"/>
                <a:gd name="connsiteX1" fmla="*/ 593672 w 593672"/>
                <a:gd name="connsiteY1" fmla="*/ 593672 h 593672"/>
                <a:gd name="connsiteX2" fmla="*/ 0 w 593672"/>
                <a:gd name="connsiteY2" fmla="*/ 0 h 593672"/>
                <a:gd name="connsiteX3" fmla="*/ 0 w 593672"/>
                <a:gd name="connsiteY3" fmla="*/ 134117 h 593672"/>
                <a:gd name="connsiteX4" fmla="*/ 319617 w 593672"/>
                <a:gd name="connsiteY4" fmla="*/ 274029 h 593672"/>
                <a:gd name="connsiteX5" fmla="*/ 459528 w 593672"/>
                <a:gd name="connsiteY5" fmla="*/ 593646 h 59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72" h="593672">
                  <a:moveTo>
                    <a:pt x="459555" y="593672"/>
                  </a:moveTo>
                  <a:lnTo>
                    <a:pt x="593672" y="593672"/>
                  </a:lnTo>
                  <a:cubicBezTo>
                    <a:pt x="584121" y="267441"/>
                    <a:pt x="326231" y="9551"/>
                    <a:pt x="0" y="0"/>
                  </a:cubicBezTo>
                  <a:lnTo>
                    <a:pt x="0" y="134117"/>
                  </a:lnTo>
                  <a:cubicBezTo>
                    <a:pt x="120597" y="138721"/>
                    <a:pt x="233759" y="188172"/>
                    <a:pt x="319617" y="274029"/>
                  </a:cubicBezTo>
                  <a:cubicBezTo>
                    <a:pt x="405474" y="359886"/>
                    <a:pt x="454924" y="473049"/>
                    <a:pt x="459528" y="593646"/>
                  </a:cubicBez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ihandform: Form 259">
              <a:extLst>
                <a:ext uri="{FF2B5EF4-FFF2-40B4-BE49-F238E27FC236}">
                  <a16:creationId xmlns:a16="http://schemas.microsoft.com/office/drawing/2014/main" id="{F8322B89-85B2-F5DE-4A99-DBF9EB2E7649}"/>
                </a:ext>
              </a:extLst>
            </p:cNvPr>
            <p:cNvSpPr>
              <a:spLocks/>
            </p:cNvSpPr>
            <p:nvPr/>
          </p:nvSpPr>
          <p:spPr>
            <a:xfrm>
              <a:off x="4208197" y="7325072"/>
              <a:ext cx="422486" cy="422486"/>
            </a:xfrm>
            <a:custGeom>
              <a:avLst/>
              <a:gdLst>
                <a:gd name="connsiteX0" fmla="*/ 0 w 422486"/>
                <a:gd name="connsiteY0" fmla="*/ 0 h 422486"/>
                <a:gd name="connsiteX1" fmla="*/ 0 w 422486"/>
                <a:gd name="connsiteY1" fmla="*/ 422487 h 422486"/>
                <a:gd name="connsiteX2" fmla="*/ 422487 w 422486"/>
                <a:gd name="connsiteY2" fmla="*/ 422487 h 422486"/>
                <a:gd name="connsiteX3" fmla="*/ 0 w 422486"/>
                <a:gd name="connsiteY3" fmla="*/ 0 h 42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486" h="422486">
                  <a:moveTo>
                    <a:pt x="0" y="0"/>
                  </a:moveTo>
                  <a:lnTo>
                    <a:pt x="0" y="422487"/>
                  </a:lnTo>
                  <a:lnTo>
                    <a:pt x="422487" y="422487"/>
                  </a:lnTo>
                  <a:cubicBezTo>
                    <a:pt x="413041" y="192167"/>
                    <a:pt x="230320" y="9446"/>
                    <a:pt x="0" y="0"/>
                  </a:cubicBezTo>
                  <a:close/>
                </a:path>
              </a:pathLst>
            </a:custGeom>
            <a:grpFill/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60">
              <a:extLst>
                <a:ext uri="{FF2B5EF4-FFF2-40B4-BE49-F238E27FC236}">
                  <a16:creationId xmlns:a16="http://schemas.microsoft.com/office/drawing/2014/main" id="{E5DD8D9C-4AF1-9BF0-983C-75620E326272}"/>
                </a:ext>
              </a:extLst>
            </p:cNvPr>
            <p:cNvSpPr>
              <a:spLocks/>
            </p:cNvSpPr>
            <p:nvPr/>
          </p:nvSpPr>
          <p:spPr>
            <a:xfrm>
              <a:off x="4208224" y="7784574"/>
              <a:ext cx="593672" cy="593672"/>
            </a:xfrm>
            <a:custGeom>
              <a:avLst/>
              <a:gdLst>
                <a:gd name="connsiteX0" fmla="*/ 459528 w 593672"/>
                <a:gd name="connsiteY0" fmla="*/ 26 h 593672"/>
                <a:gd name="connsiteX1" fmla="*/ 319617 w 593672"/>
                <a:gd name="connsiteY1" fmla="*/ 319643 h 593672"/>
                <a:gd name="connsiteX2" fmla="*/ 0 w 593672"/>
                <a:gd name="connsiteY2" fmla="*/ 459555 h 593672"/>
                <a:gd name="connsiteX3" fmla="*/ 0 w 593672"/>
                <a:gd name="connsiteY3" fmla="*/ 593672 h 593672"/>
                <a:gd name="connsiteX4" fmla="*/ 593672 w 593672"/>
                <a:gd name="connsiteY4" fmla="*/ 0 h 593672"/>
                <a:gd name="connsiteX5" fmla="*/ 459555 w 593672"/>
                <a:gd name="connsiteY5" fmla="*/ 0 h 59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72" h="593672">
                  <a:moveTo>
                    <a:pt x="459528" y="26"/>
                  </a:moveTo>
                  <a:cubicBezTo>
                    <a:pt x="454924" y="120624"/>
                    <a:pt x="405474" y="233786"/>
                    <a:pt x="319617" y="319643"/>
                  </a:cubicBezTo>
                  <a:cubicBezTo>
                    <a:pt x="233759" y="405501"/>
                    <a:pt x="120597" y="454951"/>
                    <a:pt x="0" y="459555"/>
                  </a:cubicBezTo>
                  <a:lnTo>
                    <a:pt x="0" y="593672"/>
                  </a:lnTo>
                  <a:cubicBezTo>
                    <a:pt x="326231" y="584121"/>
                    <a:pt x="584121" y="326231"/>
                    <a:pt x="593672" y="0"/>
                  </a:cubicBezTo>
                  <a:lnTo>
                    <a:pt x="459555" y="0"/>
                  </a:ln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61">
              <a:extLst>
                <a:ext uri="{FF2B5EF4-FFF2-40B4-BE49-F238E27FC236}">
                  <a16:creationId xmlns:a16="http://schemas.microsoft.com/office/drawing/2014/main" id="{5018F106-1621-FC93-B3F3-40D1D92E0494}"/>
                </a:ext>
              </a:extLst>
            </p:cNvPr>
            <p:cNvSpPr>
              <a:spLocks/>
            </p:cNvSpPr>
            <p:nvPr/>
          </p:nvSpPr>
          <p:spPr>
            <a:xfrm>
              <a:off x="4208197" y="7784600"/>
              <a:ext cx="422486" cy="422486"/>
            </a:xfrm>
            <a:custGeom>
              <a:avLst/>
              <a:gdLst>
                <a:gd name="connsiteX0" fmla="*/ 422487 w 422486"/>
                <a:gd name="connsiteY0" fmla="*/ 0 h 422486"/>
                <a:gd name="connsiteX1" fmla="*/ 0 w 422486"/>
                <a:gd name="connsiteY1" fmla="*/ 0 h 422486"/>
                <a:gd name="connsiteX2" fmla="*/ 0 w 422486"/>
                <a:gd name="connsiteY2" fmla="*/ 422487 h 422486"/>
                <a:gd name="connsiteX3" fmla="*/ 422487 w 422486"/>
                <a:gd name="connsiteY3" fmla="*/ 0 h 42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486" h="422486">
                  <a:moveTo>
                    <a:pt x="422487" y="0"/>
                  </a:moveTo>
                  <a:lnTo>
                    <a:pt x="0" y="0"/>
                  </a:lnTo>
                  <a:lnTo>
                    <a:pt x="0" y="422487"/>
                  </a:lnTo>
                  <a:cubicBezTo>
                    <a:pt x="230320" y="413041"/>
                    <a:pt x="413041" y="230320"/>
                    <a:pt x="422487" y="0"/>
                  </a:cubicBezTo>
                  <a:close/>
                </a:path>
              </a:pathLst>
            </a:custGeom>
            <a:grpFill/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62">
              <a:extLst>
                <a:ext uri="{FF2B5EF4-FFF2-40B4-BE49-F238E27FC236}">
                  <a16:creationId xmlns:a16="http://schemas.microsoft.com/office/drawing/2014/main" id="{A15FF118-21D3-F0F8-6F63-DC3F4764C2CC}"/>
                </a:ext>
              </a:extLst>
            </p:cNvPr>
            <p:cNvSpPr>
              <a:spLocks/>
            </p:cNvSpPr>
            <p:nvPr/>
          </p:nvSpPr>
          <p:spPr>
            <a:xfrm>
              <a:off x="3577484" y="7784600"/>
              <a:ext cx="593672" cy="593672"/>
            </a:xfrm>
            <a:custGeom>
              <a:avLst/>
              <a:gdLst>
                <a:gd name="connsiteX0" fmla="*/ 134117 w 593672"/>
                <a:gd name="connsiteY0" fmla="*/ 0 h 593672"/>
                <a:gd name="connsiteX1" fmla="*/ 0 w 593672"/>
                <a:gd name="connsiteY1" fmla="*/ 0 h 593672"/>
                <a:gd name="connsiteX2" fmla="*/ 593672 w 593672"/>
                <a:gd name="connsiteY2" fmla="*/ 593672 h 593672"/>
                <a:gd name="connsiteX3" fmla="*/ 593672 w 593672"/>
                <a:gd name="connsiteY3" fmla="*/ 459555 h 593672"/>
                <a:gd name="connsiteX4" fmla="*/ 274055 w 593672"/>
                <a:gd name="connsiteY4" fmla="*/ 319643 h 593672"/>
                <a:gd name="connsiteX5" fmla="*/ 134144 w 593672"/>
                <a:gd name="connsiteY5" fmla="*/ 26 h 59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3672" h="593672">
                  <a:moveTo>
                    <a:pt x="134117" y="0"/>
                  </a:moveTo>
                  <a:lnTo>
                    <a:pt x="0" y="0"/>
                  </a:lnTo>
                  <a:cubicBezTo>
                    <a:pt x="9551" y="326231"/>
                    <a:pt x="267441" y="584121"/>
                    <a:pt x="593672" y="593672"/>
                  </a:cubicBezTo>
                  <a:lnTo>
                    <a:pt x="593672" y="459555"/>
                  </a:lnTo>
                  <a:cubicBezTo>
                    <a:pt x="473075" y="454951"/>
                    <a:pt x="359913" y="405501"/>
                    <a:pt x="274055" y="319643"/>
                  </a:cubicBezTo>
                  <a:cubicBezTo>
                    <a:pt x="188198" y="233786"/>
                    <a:pt x="138748" y="120624"/>
                    <a:pt x="134144" y="26"/>
                  </a:cubicBez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63">
              <a:extLst>
                <a:ext uri="{FF2B5EF4-FFF2-40B4-BE49-F238E27FC236}">
                  <a16:creationId xmlns:a16="http://schemas.microsoft.com/office/drawing/2014/main" id="{DD08EC2D-8722-D243-62DD-6008F299F089}"/>
                </a:ext>
              </a:extLst>
            </p:cNvPr>
            <p:cNvSpPr>
              <a:spLocks/>
            </p:cNvSpPr>
            <p:nvPr/>
          </p:nvSpPr>
          <p:spPr>
            <a:xfrm>
              <a:off x="3748669" y="7784600"/>
              <a:ext cx="422486" cy="422486"/>
            </a:xfrm>
            <a:custGeom>
              <a:avLst/>
              <a:gdLst>
                <a:gd name="connsiteX0" fmla="*/ 422487 w 422486"/>
                <a:gd name="connsiteY0" fmla="*/ 422460 h 422486"/>
                <a:gd name="connsiteX1" fmla="*/ 422487 w 422486"/>
                <a:gd name="connsiteY1" fmla="*/ 0 h 422486"/>
                <a:gd name="connsiteX2" fmla="*/ 0 w 422486"/>
                <a:gd name="connsiteY2" fmla="*/ 0 h 422486"/>
                <a:gd name="connsiteX3" fmla="*/ 422487 w 422486"/>
                <a:gd name="connsiteY3" fmla="*/ 422487 h 42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2486" h="422486">
                  <a:moveTo>
                    <a:pt x="422487" y="422460"/>
                  </a:moveTo>
                  <a:lnTo>
                    <a:pt x="422487" y="0"/>
                  </a:lnTo>
                  <a:lnTo>
                    <a:pt x="0" y="0"/>
                  </a:lnTo>
                  <a:cubicBezTo>
                    <a:pt x="9446" y="230320"/>
                    <a:pt x="192167" y="413041"/>
                    <a:pt x="422487" y="422487"/>
                  </a:cubicBezTo>
                  <a:close/>
                </a:path>
              </a:pathLst>
            </a:custGeom>
            <a:grpFill/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B2FC5ECF-DBE1-B7C1-E2D4-A5C7401CC698}"/>
              </a:ext>
            </a:extLst>
          </p:cNvPr>
          <p:cNvGrpSpPr>
            <a:grpSpLocks/>
          </p:cNvGrpSpPr>
          <p:nvPr/>
        </p:nvGrpSpPr>
        <p:grpSpPr>
          <a:xfrm>
            <a:off x="1948213" y="3758400"/>
            <a:ext cx="2305036" cy="2304226"/>
            <a:chOff x="1948213" y="3796500"/>
            <a:chExt cx="2305036" cy="2304226"/>
          </a:xfrm>
        </p:grpSpPr>
        <p:grpSp>
          <p:nvGrpSpPr>
            <p:cNvPr id="26" name="Gruppieren 320">
              <a:extLst>
                <a:ext uri="{FF2B5EF4-FFF2-40B4-BE49-F238E27FC236}">
                  <a16:creationId xmlns:a16="http://schemas.microsoft.com/office/drawing/2014/main" id="{745801B3-BEE1-F099-1D3B-72AEC5067429}"/>
                </a:ext>
              </a:extLst>
            </p:cNvPr>
            <p:cNvGrpSpPr>
              <a:grpSpLocks/>
            </p:cNvGrpSpPr>
            <p:nvPr/>
          </p:nvGrpSpPr>
          <p:grpSpPr>
            <a:xfrm>
              <a:off x="1948213" y="3796500"/>
              <a:ext cx="2305036" cy="2304226"/>
              <a:chOff x="5424566" y="7153887"/>
              <a:chExt cx="1224968" cy="1224702"/>
            </a:xfrm>
            <a:solidFill>
              <a:schemeClr val="bg2"/>
            </a:solidFill>
          </p:grpSpPr>
          <p:sp>
            <p:nvSpPr>
              <p:cNvPr id="27" name="Freihandform: Form 264">
                <a:extLst>
                  <a:ext uri="{FF2B5EF4-FFF2-40B4-BE49-F238E27FC236}">
                    <a16:creationId xmlns:a16="http://schemas.microsoft.com/office/drawing/2014/main" id="{4C861E71-ABB1-D873-D558-D2A36A55B3B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24566" y="7594444"/>
                <a:ext cx="316626" cy="656087"/>
              </a:xfrm>
              <a:custGeom>
                <a:avLst/>
                <a:gdLst>
                  <a:gd name="connsiteX0" fmla="*/ 186029 w 316626"/>
                  <a:gd name="connsiteY0" fmla="*/ 388382 h 656087"/>
                  <a:gd name="connsiteX1" fmla="*/ 134038 w 316626"/>
                  <a:gd name="connsiteY1" fmla="*/ 171609 h 656087"/>
                  <a:gd name="connsiteX2" fmla="*/ 152056 w 316626"/>
                  <a:gd name="connsiteY2" fmla="*/ 41487 h 656087"/>
                  <a:gd name="connsiteX3" fmla="*/ 24368 w 316626"/>
                  <a:gd name="connsiteY3" fmla="*/ 0 h 656087"/>
                  <a:gd name="connsiteX4" fmla="*/ 0 w 316626"/>
                  <a:gd name="connsiteY4" fmla="*/ 171635 h 656087"/>
                  <a:gd name="connsiteX5" fmla="*/ 237649 w 316626"/>
                  <a:gd name="connsiteY5" fmla="*/ 656087 h 656087"/>
                  <a:gd name="connsiteX6" fmla="*/ 316627 w 316626"/>
                  <a:gd name="connsiteY6" fmla="*/ 547370 h 656087"/>
                  <a:gd name="connsiteX7" fmla="*/ 186029 w 316626"/>
                  <a:gd name="connsiteY7" fmla="*/ 388408 h 65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6626" h="656087">
                    <a:moveTo>
                      <a:pt x="186029" y="388382"/>
                    </a:moveTo>
                    <a:cubicBezTo>
                      <a:pt x="151527" y="320807"/>
                      <a:pt x="134038" y="247862"/>
                      <a:pt x="134038" y="171609"/>
                    </a:cubicBezTo>
                    <a:cubicBezTo>
                      <a:pt x="134038" y="127423"/>
                      <a:pt x="140097" y="83688"/>
                      <a:pt x="152056" y="41487"/>
                    </a:cubicBezTo>
                    <a:lnTo>
                      <a:pt x="24368" y="0"/>
                    </a:lnTo>
                    <a:cubicBezTo>
                      <a:pt x="8202" y="55536"/>
                      <a:pt x="0" y="113215"/>
                      <a:pt x="0" y="171635"/>
                    </a:cubicBezTo>
                    <a:cubicBezTo>
                      <a:pt x="0" y="363141"/>
                      <a:pt x="86466" y="539062"/>
                      <a:pt x="237649" y="656087"/>
                    </a:cubicBezTo>
                    <a:lnTo>
                      <a:pt x="316627" y="547370"/>
                    </a:lnTo>
                    <a:cubicBezTo>
                      <a:pt x="262387" y="504534"/>
                      <a:pt x="217355" y="449765"/>
                      <a:pt x="186029" y="38840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ihandform: Form 265">
                <a:extLst>
                  <a:ext uri="{FF2B5EF4-FFF2-40B4-BE49-F238E27FC236}">
                    <a16:creationId xmlns:a16="http://schemas.microsoft.com/office/drawing/2014/main" id="{D7109B23-5B72-784D-A653-C71BD7D8C8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95646" y="7647387"/>
                <a:ext cx="411453" cy="464423"/>
              </a:xfrm>
              <a:custGeom>
                <a:avLst/>
                <a:gdLst>
                  <a:gd name="connsiteX0" fmla="*/ 0 w 411453"/>
                  <a:gd name="connsiteY0" fmla="*/ 118692 h 464423"/>
                  <a:gd name="connsiteX1" fmla="*/ 167322 w 411453"/>
                  <a:gd name="connsiteY1" fmla="*/ 464423 h 464423"/>
                  <a:gd name="connsiteX2" fmla="*/ 411454 w 411453"/>
                  <a:gd name="connsiteY2" fmla="*/ 128402 h 464423"/>
                  <a:gd name="connsiteX3" fmla="*/ 16219 w 411453"/>
                  <a:gd name="connsiteY3" fmla="*/ 0 h 464423"/>
                  <a:gd name="connsiteX4" fmla="*/ 0 w 411453"/>
                  <a:gd name="connsiteY4" fmla="*/ 118666 h 464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453" h="464423">
                    <a:moveTo>
                      <a:pt x="0" y="118692"/>
                    </a:moveTo>
                    <a:cubicBezTo>
                      <a:pt x="0" y="254582"/>
                      <a:pt x="60828" y="379995"/>
                      <a:pt x="167322" y="464423"/>
                    </a:cubicBezTo>
                    <a:lnTo>
                      <a:pt x="411454" y="128402"/>
                    </a:lnTo>
                    <a:lnTo>
                      <a:pt x="16219" y="0"/>
                    </a:lnTo>
                    <a:cubicBezTo>
                      <a:pt x="5451" y="38523"/>
                      <a:pt x="0" y="78396"/>
                      <a:pt x="0" y="118666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ihandform: Form 266">
                <a:extLst>
                  <a:ext uri="{FF2B5EF4-FFF2-40B4-BE49-F238E27FC236}">
                    <a16:creationId xmlns:a16="http://schemas.microsoft.com/office/drawing/2014/main" id="{7F38E793-E61A-6B58-FBB6-ACD231C5D8B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460338" y="7153887"/>
                <a:ext cx="558191" cy="446854"/>
              </a:xfrm>
              <a:custGeom>
                <a:avLst/>
                <a:gdLst>
                  <a:gd name="connsiteX0" fmla="*/ 127741 w 558191"/>
                  <a:gd name="connsiteY0" fmla="*/ 446828 h 446854"/>
                  <a:gd name="connsiteX1" fmla="*/ 558191 w 558191"/>
                  <a:gd name="connsiteY1" fmla="*/ 134117 h 446854"/>
                  <a:gd name="connsiteX2" fmla="*/ 558191 w 558191"/>
                  <a:gd name="connsiteY2" fmla="*/ 0 h 446854"/>
                  <a:gd name="connsiteX3" fmla="*/ 0 w 558191"/>
                  <a:gd name="connsiteY3" fmla="*/ 405342 h 446854"/>
                  <a:gd name="connsiteX4" fmla="*/ 127741 w 558191"/>
                  <a:gd name="connsiteY4" fmla="*/ 446855 h 446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191" h="446854">
                    <a:moveTo>
                      <a:pt x="127741" y="446828"/>
                    </a:moveTo>
                    <a:cubicBezTo>
                      <a:pt x="194628" y="265695"/>
                      <a:pt x="365495" y="141579"/>
                      <a:pt x="558191" y="134117"/>
                    </a:cubicBezTo>
                    <a:lnTo>
                      <a:pt x="558191" y="0"/>
                    </a:lnTo>
                    <a:cubicBezTo>
                      <a:pt x="306943" y="7514"/>
                      <a:pt x="84799" y="168831"/>
                      <a:pt x="0" y="405342"/>
                    </a:cubicBezTo>
                    <a:lnTo>
                      <a:pt x="127741" y="446855"/>
                    </a:ln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ihandform: Form 267">
                <a:extLst>
                  <a:ext uri="{FF2B5EF4-FFF2-40B4-BE49-F238E27FC236}">
                    <a16:creationId xmlns:a16="http://schemas.microsoft.com/office/drawing/2014/main" id="{EAB93F0D-8773-497E-FF73-90842D1229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23322" y="7325098"/>
                <a:ext cx="395207" cy="415501"/>
              </a:xfrm>
              <a:custGeom>
                <a:avLst/>
                <a:gdLst>
                  <a:gd name="connsiteX0" fmla="*/ 395208 w 395207"/>
                  <a:gd name="connsiteY0" fmla="*/ 0 h 415501"/>
                  <a:gd name="connsiteX1" fmla="*/ 0 w 395207"/>
                  <a:gd name="connsiteY1" fmla="*/ 287099 h 415501"/>
                  <a:gd name="connsiteX2" fmla="*/ 395208 w 395207"/>
                  <a:gd name="connsiteY2" fmla="*/ 415502 h 415501"/>
                  <a:gd name="connsiteX3" fmla="*/ 395208 w 395207"/>
                  <a:gd name="connsiteY3" fmla="*/ 0 h 415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207" h="415501">
                    <a:moveTo>
                      <a:pt x="395208" y="0"/>
                    </a:moveTo>
                    <a:cubicBezTo>
                      <a:pt x="218545" y="7408"/>
                      <a:pt x="61912" y="121206"/>
                      <a:pt x="0" y="287099"/>
                    </a:cubicBezTo>
                    <a:lnTo>
                      <a:pt x="395208" y="415502"/>
                    </a:lnTo>
                    <a:lnTo>
                      <a:pt x="395208" y="0"/>
                    </a:ln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ihandform: Form 268">
                <a:extLst>
                  <a:ext uri="{FF2B5EF4-FFF2-40B4-BE49-F238E27FC236}">
                    <a16:creationId xmlns:a16="http://schemas.microsoft.com/office/drawing/2014/main" id="{47885364-73DF-EBCA-03D7-6CEB59D72C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55571" y="7153887"/>
                <a:ext cx="558191" cy="446828"/>
              </a:xfrm>
              <a:custGeom>
                <a:avLst/>
                <a:gdLst>
                  <a:gd name="connsiteX0" fmla="*/ 430450 w 558191"/>
                  <a:gd name="connsiteY0" fmla="*/ 446828 h 446828"/>
                  <a:gd name="connsiteX1" fmla="*/ 558191 w 558191"/>
                  <a:gd name="connsiteY1" fmla="*/ 405315 h 446828"/>
                  <a:gd name="connsiteX2" fmla="*/ 0 w 558191"/>
                  <a:gd name="connsiteY2" fmla="*/ 0 h 446828"/>
                  <a:gd name="connsiteX3" fmla="*/ 0 w 558191"/>
                  <a:gd name="connsiteY3" fmla="*/ 134117 h 446828"/>
                  <a:gd name="connsiteX4" fmla="*/ 430450 w 558191"/>
                  <a:gd name="connsiteY4" fmla="*/ 446828 h 446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8191" h="446828">
                    <a:moveTo>
                      <a:pt x="430450" y="446828"/>
                    </a:moveTo>
                    <a:lnTo>
                      <a:pt x="558191" y="405315"/>
                    </a:lnTo>
                    <a:cubicBezTo>
                      <a:pt x="473392" y="168831"/>
                      <a:pt x="251248" y="7541"/>
                      <a:pt x="0" y="0"/>
                    </a:cubicBezTo>
                    <a:lnTo>
                      <a:pt x="0" y="134117"/>
                    </a:lnTo>
                    <a:cubicBezTo>
                      <a:pt x="192696" y="141579"/>
                      <a:pt x="363564" y="265695"/>
                      <a:pt x="430450" y="44682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ihandform: Form 269">
                <a:extLst>
                  <a:ext uri="{FF2B5EF4-FFF2-40B4-BE49-F238E27FC236}">
                    <a16:creationId xmlns:a16="http://schemas.microsoft.com/office/drawing/2014/main" id="{8F593F13-18E4-3B30-8995-04F122FA64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55571" y="7325072"/>
                <a:ext cx="395181" cy="415501"/>
              </a:xfrm>
              <a:custGeom>
                <a:avLst/>
                <a:gdLst>
                  <a:gd name="connsiteX0" fmla="*/ 0 w 395181"/>
                  <a:gd name="connsiteY0" fmla="*/ 26 h 415501"/>
                  <a:gd name="connsiteX1" fmla="*/ 0 w 395181"/>
                  <a:gd name="connsiteY1" fmla="*/ 415502 h 415501"/>
                  <a:gd name="connsiteX2" fmla="*/ 395182 w 395181"/>
                  <a:gd name="connsiteY2" fmla="*/ 287099 h 415501"/>
                  <a:gd name="connsiteX3" fmla="*/ 0 w 395181"/>
                  <a:gd name="connsiteY3" fmla="*/ 0 h 415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181" h="415501">
                    <a:moveTo>
                      <a:pt x="0" y="26"/>
                    </a:moveTo>
                    <a:lnTo>
                      <a:pt x="0" y="415502"/>
                    </a:lnTo>
                    <a:lnTo>
                      <a:pt x="395182" y="287099"/>
                    </a:lnTo>
                    <a:cubicBezTo>
                      <a:pt x="333296" y="121206"/>
                      <a:pt x="176636" y="7408"/>
                      <a:pt x="0" y="0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ihandform: Form 270">
                <a:extLst>
                  <a:ext uri="{FF2B5EF4-FFF2-40B4-BE49-F238E27FC236}">
                    <a16:creationId xmlns:a16="http://schemas.microsoft.com/office/drawing/2014/main" id="{5EF18DFD-4A16-8275-2DDC-0518861689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792893" y="7797591"/>
                <a:ext cx="488315" cy="409919"/>
              </a:xfrm>
              <a:custGeom>
                <a:avLst/>
                <a:gdLst>
                  <a:gd name="connsiteX0" fmla="*/ 244158 w 488315"/>
                  <a:gd name="connsiteY0" fmla="*/ 0 h 409919"/>
                  <a:gd name="connsiteX1" fmla="*/ 0 w 488315"/>
                  <a:gd name="connsiteY1" fmla="*/ 336047 h 409919"/>
                  <a:gd name="connsiteX2" fmla="*/ 244158 w 488315"/>
                  <a:gd name="connsiteY2" fmla="*/ 409919 h 409919"/>
                  <a:gd name="connsiteX3" fmla="*/ 488315 w 488315"/>
                  <a:gd name="connsiteY3" fmla="*/ 336047 h 409919"/>
                  <a:gd name="connsiteX4" fmla="*/ 244158 w 488315"/>
                  <a:gd name="connsiteY4" fmla="*/ 0 h 409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315" h="409919">
                    <a:moveTo>
                      <a:pt x="244158" y="0"/>
                    </a:moveTo>
                    <a:lnTo>
                      <a:pt x="0" y="336047"/>
                    </a:lnTo>
                    <a:cubicBezTo>
                      <a:pt x="72496" y="384413"/>
                      <a:pt x="156686" y="409919"/>
                      <a:pt x="244158" y="409919"/>
                    </a:cubicBezTo>
                    <a:cubicBezTo>
                      <a:pt x="331629" y="409919"/>
                      <a:pt x="415793" y="384413"/>
                      <a:pt x="488315" y="336047"/>
                    </a:cubicBezTo>
                    <a:lnTo>
                      <a:pt x="244158" y="0"/>
                    </a:ln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ihandform: Form 271">
                <a:extLst>
                  <a:ext uri="{FF2B5EF4-FFF2-40B4-BE49-F238E27FC236}">
                    <a16:creationId xmlns:a16="http://schemas.microsoft.com/office/drawing/2014/main" id="{7F302C65-8E57-FB1E-9913-6AAAEB0209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92140" y="8163616"/>
                <a:ext cx="689821" cy="214973"/>
              </a:xfrm>
              <a:custGeom>
                <a:avLst/>
                <a:gdLst>
                  <a:gd name="connsiteX0" fmla="*/ 344910 w 689821"/>
                  <a:gd name="connsiteY0" fmla="*/ 80910 h 214973"/>
                  <a:gd name="connsiteX1" fmla="*/ 78978 w 689821"/>
                  <a:gd name="connsiteY1" fmla="*/ 0 h 214973"/>
                  <a:gd name="connsiteX2" fmla="*/ 0 w 689821"/>
                  <a:gd name="connsiteY2" fmla="*/ 108691 h 214973"/>
                  <a:gd name="connsiteX3" fmla="*/ 344910 w 689821"/>
                  <a:gd name="connsiteY3" fmla="*/ 214974 h 214973"/>
                  <a:gd name="connsiteX4" fmla="*/ 689822 w 689821"/>
                  <a:gd name="connsiteY4" fmla="*/ 108691 h 214973"/>
                  <a:gd name="connsiteX5" fmla="*/ 610843 w 689821"/>
                  <a:gd name="connsiteY5" fmla="*/ 0 h 214973"/>
                  <a:gd name="connsiteX6" fmla="*/ 344910 w 689821"/>
                  <a:gd name="connsiteY6" fmla="*/ 80910 h 21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9821" h="214973">
                    <a:moveTo>
                      <a:pt x="344910" y="80910"/>
                    </a:moveTo>
                    <a:cubicBezTo>
                      <a:pt x="249581" y="80910"/>
                      <a:pt x="157877" y="52970"/>
                      <a:pt x="78978" y="0"/>
                    </a:cubicBezTo>
                    <a:lnTo>
                      <a:pt x="0" y="108691"/>
                    </a:lnTo>
                    <a:cubicBezTo>
                      <a:pt x="101865" y="178250"/>
                      <a:pt x="220874" y="214974"/>
                      <a:pt x="344910" y="214974"/>
                    </a:cubicBezTo>
                    <a:cubicBezTo>
                      <a:pt x="468947" y="214974"/>
                      <a:pt x="587957" y="178276"/>
                      <a:pt x="689822" y="108691"/>
                    </a:cubicBezTo>
                    <a:lnTo>
                      <a:pt x="610843" y="0"/>
                    </a:lnTo>
                    <a:cubicBezTo>
                      <a:pt x="531944" y="52970"/>
                      <a:pt x="440240" y="80910"/>
                      <a:pt x="344910" y="809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ihandform: Form 272">
                <a:extLst>
                  <a:ext uri="{FF2B5EF4-FFF2-40B4-BE49-F238E27FC236}">
                    <a16:creationId xmlns:a16="http://schemas.microsoft.com/office/drawing/2014/main" id="{62943773-3E44-725A-85C6-A271680536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332908" y="7594418"/>
                <a:ext cx="316626" cy="656087"/>
              </a:xfrm>
              <a:custGeom>
                <a:avLst/>
                <a:gdLst>
                  <a:gd name="connsiteX0" fmla="*/ 292285 w 316626"/>
                  <a:gd name="connsiteY0" fmla="*/ 26 h 656087"/>
                  <a:gd name="connsiteX1" fmla="*/ 164597 w 316626"/>
                  <a:gd name="connsiteY1" fmla="*/ 41513 h 656087"/>
                  <a:gd name="connsiteX2" fmla="*/ 182589 w 316626"/>
                  <a:gd name="connsiteY2" fmla="*/ 171635 h 656087"/>
                  <a:gd name="connsiteX3" fmla="*/ 130598 w 316626"/>
                  <a:gd name="connsiteY3" fmla="*/ 388408 h 656087"/>
                  <a:gd name="connsiteX4" fmla="*/ 0 w 316626"/>
                  <a:gd name="connsiteY4" fmla="*/ 547370 h 656087"/>
                  <a:gd name="connsiteX5" fmla="*/ 78978 w 316626"/>
                  <a:gd name="connsiteY5" fmla="*/ 656087 h 656087"/>
                  <a:gd name="connsiteX6" fmla="*/ 316627 w 316626"/>
                  <a:gd name="connsiteY6" fmla="*/ 171635 h 656087"/>
                  <a:gd name="connsiteX7" fmla="*/ 292259 w 316626"/>
                  <a:gd name="connsiteY7" fmla="*/ 0 h 65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6626" h="656087">
                    <a:moveTo>
                      <a:pt x="292285" y="26"/>
                    </a:moveTo>
                    <a:lnTo>
                      <a:pt x="164597" y="41513"/>
                    </a:lnTo>
                    <a:cubicBezTo>
                      <a:pt x="176556" y="83741"/>
                      <a:pt x="182589" y="127476"/>
                      <a:pt x="182589" y="171635"/>
                    </a:cubicBezTo>
                    <a:cubicBezTo>
                      <a:pt x="182589" y="247888"/>
                      <a:pt x="165100" y="320807"/>
                      <a:pt x="130598" y="388408"/>
                    </a:cubicBezTo>
                    <a:cubicBezTo>
                      <a:pt x="99272" y="449765"/>
                      <a:pt x="54266" y="504534"/>
                      <a:pt x="0" y="547370"/>
                    </a:cubicBezTo>
                    <a:lnTo>
                      <a:pt x="78978" y="656087"/>
                    </a:lnTo>
                    <a:cubicBezTo>
                      <a:pt x="230161" y="539089"/>
                      <a:pt x="316627" y="363141"/>
                      <a:pt x="316627" y="171635"/>
                    </a:cubicBezTo>
                    <a:cubicBezTo>
                      <a:pt x="316627" y="113215"/>
                      <a:pt x="308425" y="55536"/>
                      <a:pt x="29225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ihandform: Form 273">
                <a:extLst>
                  <a:ext uri="{FF2B5EF4-FFF2-40B4-BE49-F238E27FC236}">
                    <a16:creationId xmlns:a16="http://schemas.microsoft.com/office/drawing/2014/main" id="{DDA7C18A-7403-66DD-4E60-538C0514A2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67028" y="7647414"/>
                <a:ext cx="411453" cy="464423"/>
              </a:xfrm>
              <a:custGeom>
                <a:avLst/>
                <a:gdLst>
                  <a:gd name="connsiteX0" fmla="*/ 411427 w 411453"/>
                  <a:gd name="connsiteY0" fmla="*/ 118666 h 464423"/>
                  <a:gd name="connsiteX1" fmla="*/ 395208 w 411453"/>
                  <a:gd name="connsiteY1" fmla="*/ 0 h 464423"/>
                  <a:gd name="connsiteX2" fmla="*/ 0 w 411453"/>
                  <a:gd name="connsiteY2" fmla="*/ 128402 h 464423"/>
                  <a:gd name="connsiteX3" fmla="*/ 244131 w 411453"/>
                  <a:gd name="connsiteY3" fmla="*/ 464423 h 464423"/>
                  <a:gd name="connsiteX4" fmla="*/ 411454 w 411453"/>
                  <a:gd name="connsiteY4" fmla="*/ 118692 h 464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453" h="464423">
                    <a:moveTo>
                      <a:pt x="411427" y="118666"/>
                    </a:moveTo>
                    <a:cubicBezTo>
                      <a:pt x="411427" y="78396"/>
                      <a:pt x="405977" y="38523"/>
                      <a:pt x="395208" y="0"/>
                    </a:cubicBezTo>
                    <a:lnTo>
                      <a:pt x="0" y="128402"/>
                    </a:lnTo>
                    <a:lnTo>
                      <a:pt x="244131" y="464423"/>
                    </a:lnTo>
                    <a:cubicBezTo>
                      <a:pt x="350626" y="379968"/>
                      <a:pt x="411454" y="254582"/>
                      <a:pt x="411454" y="118692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9" name="Textfeld 5">
              <a:extLst>
                <a:ext uri="{FF2B5EF4-FFF2-40B4-BE49-F238E27FC236}">
                  <a16:creationId xmlns:a16="http://schemas.microsoft.com/office/drawing/2014/main" id="{79004F37-11BD-F9EF-99D8-49E5E348A611}"/>
                </a:ext>
              </a:extLst>
            </p:cNvPr>
            <p:cNvSpPr txBox="1">
              <a:spLocks noChangeAspect="1"/>
            </p:cNvSpPr>
            <p:nvPr/>
          </p:nvSpPr>
          <p:spPr>
            <a:xfrm rot="19531624">
              <a:off x="2078290" y="3925812"/>
              <a:ext cx="2044882" cy="204560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70" name="Textfeld 1">
              <a:extLst>
                <a:ext uri="{FF2B5EF4-FFF2-40B4-BE49-F238E27FC236}">
                  <a16:creationId xmlns:a16="http://schemas.microsoft.com/office/drawing/2014/main" id="{0F80DF7E-E153-6CBF-7A72-2C6147657D55}"/>
                </a:ext>
              </a:extLst>
            </p:cNvPr>
            <p:cNvSpPr txBox="1">
              <a:spLocks noChangeAspect="1"/>
            </p:cNvSpPr>
            <p:nvPr/>
          </p:nvSpPr>
          <p:spPr>
            <a:xfrm rot="2202261">
              <a:off x="2078290" y="3925811"/>
              <a:ext cx="2044882" cy="204560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71" name="Textfeld 2">
              <a:extLst>
                <a:ext uri="{FF2B5EF4-FFF2-40B4-BE49-F238E27FC236}">
                  <a16:creationId xmlns:a16="http://schemas.microsoft.com/office/drawing/2014/main" id="{0A71CA29-4FB4-2D13-8513-F787060EA95A}"/>
                </a:ext>
              </a:extLst>
            </p:cNvPr>
            <p:cNvSpPr txBox="1">
              <a:spLocks noChangeAspect="1"/>
            </p:cNvSpPr>
            <p:nvPr/>
          </p:nvSpPr>
          <p:spPr>
            <a:xfrm rot="17306213">
              <a:off x="2070079" y="3919044"/>
              <a:ext cx="2061305" cy="205913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72" name="Textfeld 4">
              <a:extLst>
                <a:ext uri="{FF2B5EF4-FFF2-40B4-BE49-F238E27FC236}">
                  <a16:creationId xmlns:a16="http://schemas.microsoft.com/office/drawing/2014/main" id="{73E640A0-3E71-5F27-B04F-A2D755DCEA4D}"/>
                </a:ext>
              </a:extLst>
            </p:cNvPr>
            <p:cNvSpPr txBox="1">
              <a:spLocks noChangeAspect="1"/>
            </p:cNvSpPr>
            <p:nvPr/>
          </p:nvSpPr>
          <p:spPr>
            <a:xfrm rot="4338563">
              <a:off x="2070079" y="3919044"/>
              <a:ext cx="2061305" cy="205913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73" name="Textfeld 3">
              <a:extLst>
                <a:ext uri="{FF2B5EF4-FFF2-40B4-BE49-F238E27FC236}">
                  <a16:creationId xmlns:a16="http://schemas.microsoft.com/office/drawing/2014/main" id="{AD7FB149-06D4-0C2A-A863-39A1732D634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070802" y="3918322"/>
              <a:ext cx="2059860" cy="206058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86F036B-0929-A7CB-8FB9-3A3F5C05450E}"/>
              </a:ext>
            </a:extLst>
          </p:cNvPr>
          <p:cNvGrpSpPr>
            <a:grpSpLocks/>
          </p:cNvGrpSpPr>
          <p:nvPr/>
        </p:nvGrpSpPr>
        <p:grpSpPr>
          <a:xfrm>
            <a:off x="437260" y="1582001"/>
            <a:ext cx="2305038" cy="2304224"/>
            <a:chOff x="437260" y="1248626"/>
            <a:chExt cx="2305038" cy="2304224"/>
          </a:xfrm>
        </p:grpSpPr>
        <p:grpSp>
          <p:nvGrpSpPr>
            <p:cNvPr id="66" name="Gruppieren 333">
              <a:extLst>
                <a:ext uri="{FF2B5EF4-FFF2-40B4-BE49-F238E27FC236}">
                  <a16:creationId xmlns:a16="http://schemas.microsoft.com/office/drawing/2014/main" id="{7D63348F-146E-48FC-650B-14ABABAC8E6D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7260" y="1248626"/>
              <a:ext cx="2305038" cy="2304224"/>
              <a:chOff x="3459164" y="1248626"/>
              <a:chExt cx="2305038" cy="2304224"/>
            </a:xfrm>
          </p:grpSpPr>
          <p:sp>
            <p:nvSpPr>
              <p:cNvPr id="67" name="Kreis: nicht ausgefüllt 331">
                <a:extLst>
                  <a:ext uri="{FF2B5EF4-FFF2-40B4-BE49-F238E27FC236}">
                    <a16:creationId xmlns:a16="http://schemas.microsoft.com/office/drawing/2014/main" id="{CC97D720-43F6-FD42-1957-E3104268048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59164" y="1248626"/>
                <a:ext cx="2305038" cy="2304224"/>
              </a:xfrm>
              <a:prstGeom prst="donut">
                <a:avLst>
                  <a:gd name="adj" fmla="val 10955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Ellipse 332">
                <a:extLst>
                  <a:ext uri="{FF2B5EF4-FFF2-40B4-BE49-F238E27FC236}">
                    <a16:creationId xmlns:a16="http://schemas.microsoft.com/office/drawing/2014/main" id="{8912B7FE-65E4-A143-FFC7-3E4CF4BCDAC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781421" y="1570769"/>
                <a:ext cx="1660524" cy="1659938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Textfeld 1">
              <a:extLst>
                <a:ext uri="{FF2B5EF4-FFF2-40B4-BE49-F238E27FC236}">
                  <a16:creationId xmlns:a16="http://schemas.microsoft.com/office/drawing/2014/main" id="{6CFC27EB-0837-8829-B8EC-43B446BEEC88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564206" y="1375527"/>
              <a:ext cx="2051146" cy="205042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 ipsum dolor sit </a:t>
              </a:r>
              <a:r>
                <a:rPr lang="en-US" sz="1200" err="1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amet</a:t>
              </a:r>
              <a:endPara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B5ED9C5-FC53-3249-7C98-55679E76DE2E}"/>
              </a:ext>
            </a:extLst>
          </p:cNvPr>
          <p:cNvGrpSpPr>
            <a:grpSpLocks/>
          </p:cNvGrpSpPr>
          <p:nvPr/>
        </p:nvGrpSpPr>
        <p:grpSpPr>
          <a:xfrm>
            <a:off x="3459164" y="1582001"/>
            <a:ext cx="2305038" cy="2304224"/>
            <a:chOff x="3459164" y="1248626"/>
            <a:chExt cx="2305038" cy="2304224"/>
          </a:xfrm>
        </p:grpSpPr>
        <p:grpSp>
          <p:nvGrpSpPr>
            <p:cNvPr id="2" name="Gruppieren 316">
              <a:extLst>
                <a:ext uri="{FF2B5EF4-FFF2-40B4-BE49-F238E27FC236}">
                  <a16:creationId xmlns:a16="http://schemas.microsoft.com/office/drawing/2014/main" id="{E4CC2644-DF27-6D2E-CAFD-AAE31DD25AF4}"/>
                </a:ext>
              </a:extLst>
            </p:cNvPr>
            <p:cNvGrpSpPr>
              <a:grpSpLocks/>
            </p:cNvGrpSpPr>
            <p:nvPr/>
          </p:nvGrpSpPr>
          <p:grpSpPr>
            <a:xfrm>
              <a:off x="3459164" y="1248626"/>
              <a:ext cx="2305038" cy="2304224"/>
              <a:chOff x="0" y="7153887"/>
              <a:chExt cx="1225020" cy="1224386"/>
            </a:xfrm>
            <a:solidFill>
              <a:schemeClr val="bg2"/>
            </a:solidFill>
          </p:grpSpPr>
          <p:sp>
            <p:nvSpPr>
              <p:cNvPr id="3" name="Freihandform: Form 198">
                <a:extLst>
                  <a:ext uri="{FF2B5EF4-FFF2-40B4-BE49-F238E27FC236}">
                    <a16:creationId xmlns:a16="http://schemas.microsoft.com/office/drawing/2014/main" id="{4CE4EE52-B6ED-1D17-1083-E64B065C3D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71106" y="7325098"/>
                <a:ext cx="422883" cy="881962"/>
              </a:xfrm>
              <a:custGeom>
                <a:avLst/>
                <a:gdLst>
                  <a:gd name="connsiteX0" fmla="*/ 0 w 422883"/>
                  <a:gd name="connsiteY0" fmla="*/ 440981 h 881962"/>
                  <a:gd name="connsiteX1" fmla="*/ 422884 w 422883"/>
                  <a:gd name="connsiteY1" fmla="*/ 881962 h 881962"/>
                  <a:gd name="connsiteX2" fmla="*/ 422884 w 422883"/>
                  <a:gd name="connsiteY2" fmla="*/ 0 h 881962"/>
                  <a:gd name="connsiteX3" fmla="*/ 0 w 422883"/>
                  <a:gd name="connsiteY3" fmla="*/ 440981 h 88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883" h="881962">
                    <a:moveTo>
                      <a:pt x="0" y="440981"/>
                    </a:moveTo>
                    <a:cubicBezTo>
                      <a:pt x="0" y="676566"/>
                      <a:pt x="188727" y="872173"/>
                      <a:pt x="422884" y="881962"/>
                    </a:cubicBezTo>
                    <a:lnTo>
                      <a:pt x="422884" y="0"/>
                    </a:lnTo>
                    <a:cubicBezTo>
                      <a:pt x="188727" y="9790"/>
                      <a:pt x="0" y="205396"/>
                      <a:pt x="0" y="440981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" name="Freihandform: Form 199">
                <a:extLst>
                  <a:ext uri="{FF2B5EF4-FFF2-40B4-BE49-F238E27FC236}">
                    <a16:creationId xmlns:a16="http://schemas.microsoft.com/office/drawing/2014/main" id="{020C2142-D741-3850-2A04-DB2F15F713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0" y="7153887"/>
                <a:ext cx="593989" cy="1224386"/>
              </a:xfrm>
              <a:custGeom>
                <a:avLst/>
                <a:gdLst>
                  <a:gd name="connsiteX0" fmla="*/ 134064 w 593989"/>
                  <a:gd name="connsiteY0" fmla="*/ 612193 h 1224386"/>
                  <a:gd name="connsiteX1" fmla="*/ 271701 w 593989"/>
                  <a:gd name="connsiteY1" fmla="*/ 276728 h 1224386"/>
                  <a:gd name="connsiteX2" fmla="*/ 593990 w 593989"/>
                  <a:gd name="connsiteY2" fmla="*/ 134117 h 1224386"/>
                  <a:gd name="connsiteX3" fmla="*/ 593990 w 593989"/>
                  <a:gd name="connsiteY3" fmla="*/ 0 h 1224386"/>
                  <a:gd name="connsiteX4" fmla="*/ 0 w 593989"/>
                  <a:gd name="connsiteY4" fmla="*/ 612193 h 1224386"/>
                  <a:gd name="connsiteX5" fmla="*/ 593990 w 593989"/>
                  <a:gd name="connsiteY5" fmla="*/ 1224386 h 1224386"/>
                  <a:gd name="connsiteX6" fmla="*/ 593990 w 593989"/>
                  <a:gd name="connsiteY6" fmla="*/ 1090269 h 1224386"/>
                  <a:gd name="connsiteX7" fmla="*/ 271701 w 593989"/>
                  <a:gd name="connsiteY7" fmla="*/ 947658 h 1224386"/>
                  <a:gd name="connsiteX8" fmla="*/ 134064 w 593989"/>
                  <a:gd name="connsiteY8" fmla="*/ 612193 h 1224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3989" h="1224386">
                    <a:moveTo>
                      <a:pt x="134064" y="612193"/>
                    </a:moveTo>
                    <a:cubicBezTo>
                      <a:pt x="134064" y="486013"/>
                      <a:pt x="182933" y="366871"/>
                      <a:pt x="271701" y="276728"/>
                    </a:cubicBezTo>
                    <a:cubicBezTo>
                      <a:pt x="357902" y="189177"/>
                      <a:pt x="472017" y="138774"/>
                      <a:pt x="593990" y="134117"/>
                    </a:cubicBezTo>
                    <a:lnTo>
                      <a:pt x="593990" y="0"/>
                    </a:lnTo>
                    <a:cubicBezTo>
                      <a:pt x="265483" y="9843"/>
                      <a:pt x="0" y="282258"/>
                      <a:pt x="0" y="612193"/>
                    </a:cubicBezTo>
                    <a:cubicBezTo>
                      <a:pt x="0" y="942128"/>
                      <a:pt x="265483" y="1214517"/>
                      <a:pt x="593990" y="1224386"/>
                    </a:cubicBezTo>
                    <a:lnTo>
                      <a:pt x="593990" y="1090269"/>
                    </a:lnTo>
                    <a:cubicBezTo>
                      <a:pt x="471990" y="1085612"/>
                      <a:pt x="357902" y="1035209"/>
                      <a:pt x="271701" y="947658"/>
                    </a:cubicBezTo>
                    <a:cubicBezTo>
                      <a:pt x="182959" y="857515"/>
                      <a:pt x="134064" y="738373"/>
                      <a:pt x="134064" y="61219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" name="Freihandform: Form 200">
                <a:extLst>
                  <a:ext uri="{FF2B5EF4-FFF2-40B4-BE49-F238E27FC236}">
                    <a16:creationId xmlns:a16="http://schemas.microsoft.com/office/drawing/2014/main" id="{AF5D375E-A652-46AB-FB2B-491D433BC0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31031" y="7153887"/>
                <a:ext cx="593989" cy="1224386"/>
              </a:xfrm>
              <a:custGeom>
                <a:avLst/>
                <a:gdLst>
                  <a:gd name="connsiteX0" fmla="*/ 0 w 593989"/>
                  <a:gd name="connsiteY0" fmla="*/ 0 h 1224386"/>
                  <a:gd name="connsiteX1" fmla="*/ 0 w 593989"/>
                  <a:gd name="connsiteY1" fmla="*/ 134117 h 1224386"/>
                  <a:gd name="connsiteX2" fmla="*/ 322289 w 593989"/>
                  <a:gd name="connsiteY2" fmla="*/ 276728 h 1224386"/>
                  <a:gd name="connsiteX3" fmla="*/ 459925 w 593989"/>
                  <a:gd name="connsiteY3" fmla="*/ 612193 h 1224386"/>
                  <a:gd name="connsiteX4" fmla="*/ 322289 w 593989"/>
                  <a:gd name="connsiteY4" fmla="*/ 947658 h 1224386"/>
                  <a:gd name="connsiteX5" fmla="*/ 0 w 593989"/>
                  <a:gd name="connsiteY5" fmla="*/ 1090269 h 1224386"/>
                  <a:gd name="connsiteX6" fmla="*/ 0 w 593989"/>
                  <a:gd name="connsiteY6" fmla="*/ 1224386 h 1224386"/>
                  <a:gd name="connsiteX7" fmla="*/ 593990 w 593989"/>
                  <a:gd name="connsiteY7" fmla="*/ 612193 h 1224386"/>
                  <a:gd name="connsiteX8" fmla="*/ 0 w 593989"/>
                  <a:gd name="connsiteY8" fmla="*/ 0 h 1224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3989" h="1224386">
                    <a:moveTo>
                      <a:pt x="0" y="0"/>
                    </a:moveTo>
                    <a:lnTo>
                      <a:pt x="0" y="134117"/>
                    </a:lnTo>
                    <a:cubicBezTo>
                      <a:pt x="121999" y="138774"/>
                      <a:pt x="236088" y="189177"/>
                      <a:pt x="322289" y="276728"/>
                    </a:cubicBezTo>
                    <a:cubicBezTo>
                      <a:pt x="411030" y="366871"/>
                      <a:pt x="459925" y="486013"/>
                      <a:pt x="459925" y="612193"/>
                    </a:cubicBezTo>
                    <a:cubicBezTo>
                      <a:pt x="459925" y="738373"/>
                      <a:pt x="411057" y="857515"/>
                      <a:pt x="322289" y="947658"/>
                    </a:cubicBezTo>
                    <a:cubicBezTo>
                      <a:pt x="236088" y="1035209"/>
                      <a:pt x="121973" y="1085612"/>
                      <a:pt x="0" y="1090269"/>
                    </a:cubicBezTo>
                    <a:lnTo>
                      <a:pt x="0" y="1224386"/>
                    </a:lnTo>
                    <a:cubicBezTo>
                      <a:pt x="328507" y="1214544"/>
                      <a:pt x="593990" y="942128"/>
                      <a:pt x="593990" y="612193"/>
                    </a:cubicBezTo>
                    <a:cubicBezTo>
                      <a:pt x="593990" y="282258"/>
                      <a:pt x="328507" y="9843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ihandform: Form 201">
                <a:extLst>
                  <a:ext uri="{FF2B5EF4-FFF2-40B4-BE49-F238E27FC236}">
                    <a16:creationId xmlns:a16="http://schemas.microsoft.com/office/drawing/2014/main" id="{B9A827BC-ECD9-9FAF-0663-C5216D513B0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31031" y="7325098"/>
                <a:ext cx="422883" cy="881962"/>
              </a:xfrm>
              <a:custGeom>
                <a:avLst/>
                <a:gdLst>
                  <a:gd name="connsiteX0" fmla="*/ 0 w 422883"/>
                  <a:gd name="connsiteY0" fmla="*/ 0 h 881962"/>
                  <a:gd name="connsiteX1" fmla="*/ 0 w 422883"/>
                  <a:gd name="connsiteY1" fmla="*/ 881962 h 881962"/>
                  <a:gd name="connsiteX2" fmla="*/ 422884 w 422883"/>
                  <a:gd name="connsiteY2" fmla="*/ 440981 h 881962"/>
                  <a:gd name="connsiteX3" fmla="*/ 0 w 422883"/>
                  <a:gd name="connsiteY3" fmla="*/ 0 h 88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2883" h="881962">
                    <a:moveTo>
                      <a:pt x="0" y="0"/>
                    </a:moveTo>
                    <a:lnTo>
                      <a:pt x="0" y="881962"/>
                    </a:lnTo>
                    <a:cubicBezTo>
                      <a:pt x="234156" y="872173"/>
                      <a:pt x="422884" y="676566"/>
                      <a:pt x="422884" y="440981"/>
                    </a:cubicBezTo>
                    <a:cubicBezTo>
                      <a:pt x="422884" y="205396"/>
                      <a:pt x="234156" y="9790"/>
                      <a:pt x="0" y="0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5" name="Textfeld 2">
              <a:extLst>
                <a:ext uri="{FF2B5EF4-FFF2-40B4-BE49-F238E27FC236}">
                  <a16:creationId xmlns:a16="http://schemas.microsoft.com/office/drawing/2014/main" id="{5A2CC457-5979-9EA3-4B18-180EF6A76641}"/>
                </a:ext>
              </a:extLst>
            </p:cNvPr>
            <p:cNvSpPr txBox="1">
              <a:spLocks noChangeAspect="1"/>
            </p:cNvSpPr>
            <p:nvPr/>
          </p:nvSpPr>
          <p:spPr>
            <a:xfrm rot="5400000">
              <a:off x="3589242" y="1377936"/>
              <a:ext cx="2044882" cy="204560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76" name="Textfeld 1">
              <a:extLst>
                <a:ext uri="{FF2B5EF4-FFF2-40B4-BE49-F238E27FC236}">
                  <a16:creationId xmlns:a16="http://schemas.microsoft.com/office/drawing/2014/main" id="{71108A96-9A8E-DBA8-5BAC-D5469536DBF7}"/>
                </a:ext>
              </a:extLst>
            </p:cNvPr>
            <p:cNvSpPr txBox="1">
              <a:spLocks noChangeAspect="1"/>
            </p:cNvSpPr>
            <p:nvPr/>
          </p:nvSpPr>
          <p:spPr>
            <a:xfrm rot="16200000">
              <a:off x="3589242" y="1377936"/>
              <a:ext cx="2044882" cy="204560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</p:grpSp>
      <p:sp>
        <p:nvSpPr>
          <p:cNvPr id="77" name="Textfeld 3">
            <a:extLst>
              <a:ext uri="{FF2B5EF4-FFF2-40B4-BE49-F238E27FC236}">
                <a16:creationId xmlns:a16="http://schemas.microsoft.com/office/drawing/2014/main" id="{E3DB6AE2-E47E-2AB5-34F0-113E1AA51C89}"/>
              </a:ext>
            </a:extLst>
          </p:cNvPr>
          <p:cNvSpPr txBox="1">
            <a:spLocks noChangeAspect="1"/>
          </p:cNvSpPr>
          <p:nvPr/>
        </p:nvSpPr>
        <p:spPr>
          <a:xfrm rot="18000000">
            <a:off x="6602463" y="1720785"/>
            <a:ext cx="2045604" cy="2026656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78" name="Textfeld 1">
            <a:extLst>
              <a:ext uri="{FF2B5EF4-FFF2-40B4-BE49-F238E27FC236}">
                <a16:creationId xmlns:a16="http://schemas.microsoft.com/office/drawing/2014/main" id="{2821994B-B9F7-1F8D-6D06-2A794B9C579A}"/>
              </a:ext>
            </a:extLst>
          </p:cNvPr>
          <p:cNvSpPr txBox="1">
            <a:spLocks noChangeAspect="1"/>
          </p:cNvSpPr>
          <p:nvPr/>
        </p:nvSpPr>
        <p:spPr>
          <a:xfrm rot="3600000">
            <a:off x="6592235" y="1710652"/>
            <a:ext cx="2066060" cy="2046923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80" name="Textfeld 2">
            <a:extLst>
              <a:ext uri="{FF2B5EF4-FFF2-40B4-BE49-F238E27FC236}">
                <a16:creationId xmlns:a16="http://schemas.microsoft.com/office/drawing/2014/main" id="{CE62A428-80B2-7EC1-DCBF-3AEEA9F6A287}"/>
              </a:ext>
            </a:extLst>
          </p:cNvPr>
          <p:cNvSpPr txBox="1">
            <a:spLocks noChangeAspect="1"/>
          </p:cNvSpPr>
          <p:nvPr/>
        </p:nvSpPr>
        <p:spPr>
          <a:xfrm rot="18900000">
            <a:off x="9651858" y="1701812"/>
            <a:ext cx="2007295" cy="2064602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81" name="Textfeld 3">
            <a:extLst>
              <a:ext uri="{FF2B5EF4-FFF2-40B4-BE49-F238E27FC236}">
                <a16:creationId xmlns:a16="http://schemas.microsoft.com/office/drawing/2014/main" id="{CBEF67E0-9538-AA25-21EE-EFA15BBDE287}"/>
              </a:ext>
            </a:extLst>
          </p:cNvPr>
          <p:cNvSpPr txBox="1">
            <a:spLocks noChangeAspect="1"/>
          </p:cNvSpPr>
          <p:nvPr/>
        </p:nvSpPr>
        <p:spPr>
          <a:xfrm rot="2700000">
            <a:off x="9643188" y="1710653"/>
            <a:ext cx="2024635" cy="2046919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Down">
              <a:avLst>
                <a:gd name="adj" fmla="val 355666"/>
              </a:avLst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82" name="Textfeld 1">
            <a:extLst>
              <a:ext uri="{FF2B5EF4-FFF2-40B4-BE49-F238E27FC236}">
                <a16:creationId xmlns:a16="http://schemas.microsoft.com/office/drawing/2014/main" id="{09A9E5A6-09B0-7B05-2827-53F4AC2541D3}"/>
              </a:ext>
            </a:extLst>
          </p:cNvPr>
          <p:cNvSpPr txBox="1">
            <a:spLocks noChangeAspect="1"/>
          </p:cNvSpPr>
          <p:nvPr/>
        </p:nvSpPr>
        <p:spPr>
          <a:xfrm rot="2700000">
            <a:off x="9643187" y="1710653"/>
            <a:ext cx="2024635" cy="2046919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sp>
        <p:nvSpPr>
          <p:cNvPr id="83" name="Textfeld 4">
            <a:extLst>
              <a:ext uri="{FF2B5EF4-FFF2-40B4-BE49-F238E27FC236}">
                <a16:creationId xmlns:a16="http://schemas.microsoft.com/office/drawing/2014/main" id="{24719AF4-3462-4BCC-FD25-CCB4105D4948}"/>
              </a:ext>
            </a:extLst>
          </p:cNvPr>
          <p:cNvSpPr txBox="1">
            <a:spLocks noChangeAspect="1"/>
          </p:cNvSpPr>
          <p:nvPr/>
        </p:nvSpPr>
        <p:spPr>
          <a:xfrm rot="18900000">
            <a:off x="9651857" y="1701810"/>
            <a:ext cx="2007295" cy="2064602"/>
          </a:xfrm>
          <a:prstGeom prst="rect">
            <a:avLst/>
          </a:prstGeom>
          <a:noFill/>
        </p:spPr>
        <p:txBody>
          <a:bodyPr wrap="none" lIns="0" tIns="0" rIns="0" bIns="0" rtlCol="0" anchor="ctr">
            <a:prstTxWarp prst="textArchUp">
              <a:avLst/>
            </a:prstTxWarp>
            <a:spAutoFit/>
          </a:bodyPr>
          <a:lstStyle/>
          <a:p>
            <a:pPr algn="ctr">
              <a:spcBef>
                <a:spcPts val="400"/>
              </a:spcBef>
              <a:buClr>
                <a:schemeClr val="tx2"/>
              </a:buClr>
              <a:buSzPct val="80000"/>
            </a:pPr>
            <a:r>
              <a:rPr lang="en-US" sz="1200">
                <a:solidFill>
                  <a:schemeClr val="bg1"/>
                </a:solidFill>
                <a:ea typeface="Verdana" pitchFamily="34" charset="0"/>
                <a:cs typeface="Verdana" pitchFamily="34" charset="0"/>
              </a:rPr>
              <a:t>Lorem ipsum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7EB425DF-884F-73BE-369C-3DF8F782209E}"/>
              </a:ext>
            </a:extLst>
          </p:cNvPr>
          <p:cNvGrpSpPr>
            <a:grpSpLocks/>
          </p:cNvGrpSpPr>
          <p:nvPr/>
        </p:nvGrpSpPr>
        <p:grpSpPr>
          <a:xfrm>
            <a:off x="4970117" y="3758400"/>
            <a:ext cx="2305048" cy="2304226"/>
            <a:chOff x="4970117" y="3796500"/>
            <a:chExt cx="2305048" cy="2304226"/>
          </a:xfrm>
        </p:grpSpPr>
        <p:grpSp>
          <p:nvGrpSpPr>
            <p:cNvPr id="37" name="Gruppieren 321">
              <a:extLst>
                <a:ext uri="{FF2B5EF4-FFF2-40B4-BE49-F238E27FC236}">
                  <a16:creationId xmlns:a16="http://schemas.microsoft.com/office/drawing/2014/main" id="{009C3DE9-C957-8A29-D269-A08E6BDD734E}"/>
                </a:ext>
              </a:extLst>
            </p:cNvPr>
            <p:cNvGrpSpPr>
              <a:grpSpLocks/>
            </p:cNvGrpSpPr>
            <p:nvPr/>
          </p:nvGrpSpPr>
          <p:grpSpPr>
            <a:xfrm>
              <a:off x="4970117" y="3796500"/>
              <a:ext cx="2305048" cy="2304226"/>
              <a:chOff x="7271914" y="7153887"/>
              <a:chExt cx="1225020" cy="1224359"/>
            </a:xfrm>
            <a:solidFill>
              <a:schemeClr val="bg2"/>
            </a:solidFill>
          </p:grpSpPr>
          <p:sp>
            <p:nvSpPr>
              <p:cNvPr id="38" name="Freihandform: Form 274">
                <a:extLst>
                  <a:ext uri="{FF2B5EF4-FFF2-40B4-BE49-F238E27FC236}">
                    <a16:creationId xmlns:a16="http://schemas.microsoft.com/office/drawing/2014/main" id="{FDECA830-5EC2-0DD3-ED8D-F7DB6822D4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902945" y="7153887"/>
                <a:ext cx="502470" cy="357187"/>
              </a:xfrm>
              <a:custGeom>
                <a:avLst/>
                <a:gdLst>
                  <a:gd name="connsiteX0" fmla="*/ 386133 w 502470"/>
                  <a:gd name="connsiteY0" fmla="*/ 357188 h 357187"/>
                  <a:gd name="connsiteX1" fmla="*/ 502471 w 502470"/>
                  <a:gd name="connsiteY1" fmla="*/ 290010 h 357187"/>
                  <a:gd name="connsiteX2" fmla="*/ 0 w 502470"/>
                  <a:gd name="connsiteY2" fmla="*/ 0 h 357187"/>
                  <a:gd name="connsiteX3" fmla="*/ 0 w 502470"/>
                  <a:gd name="connsiteY3" fmla="*/ 134117 h 357187"/>
                  <a:gd name="connsiteX4" fmla="*/ 223626 w 502470"/>
                  <a:gd name="connsiteY4" fmla="*/ 199655 h 357187"/>
                  <a:gd name="connsiteX5" fmla="*/ 386159 w 502470"/>
                  <a:gd name="connsiteY5" fmla="*/ 357161 h 35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470" h="357187">
                    <a:moveTo>
                      <a:pt x="386133" y="357188"/>
                    </a:moveTo>
                    <a:lnTo>
                      <a:pt x="502471" y="290010"/>
                    </a:lnTo>
                    <a:cubicBezTo>
                      <a:pt x="393356" y="113744"/>
                      <a:pt x="206904" y="6112"/>
                      <a:pt x="0" y="0"/>
                    </a:cubicBezTo>
                    <a:lnTo>
                      <a:pt x="0" y="134117"/>
                    </a:lnTo>
                    <a:cubicBezTo>
                      <a:pt x="78714" y="137160"/>
                      <a:pt x="155840" y="159729"/>
                      <a:pt x="223626" y="199655"/>
                    </a:cubicBezTo>
                    <a:cubicBezTo>
                      <a:pt x="289375" y="238390"/>
                      <a:pt x="345361" y="292709"/>
                      <a:pt x="386159" y="35716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ihandform: Form 275">
                <a:extLst>
                  <a:ext uri="{FF2B5EF4-FFF2-40B4-BE49-F238E27FC236}">
                    <a16:creationId xmlns:a16="http://schemas.microsoft.com/office/drawing/2014/main" id="{99F405F3-95C3-4313-33C3-FB7DF49A743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902945" y="7325072"/>
                <a:ext cx="354039" cy="408913"/>
              </a:xfrm>
              <a:custGeom>
                <a:avLst/>
                <a:gdLst>
                  <a:gd name="connsiteX0" fmla="*/ 0 w 354039"/>
                  <a:gd name="connsiteY0" fmla="*/ 0 h 408913"/>
                  <a:gd name="connsiteX1" fmla="*/ 0 w 354039"/>
                  <a:gd name="connsiteY1" fmla="*/ 408914 h 408913"/>
                  <a:gd name="connsiteX2" fmla="*/ 354039 w 354039"/>
                  <a:gd name="connsiteY2" fmla="*/ 204523 h 408913"/>
                  <a:gd name="connsiteX3" fmla="*/ 0 w 354039"/>
                  <a:gd name="connsiteY3" fmla="*/ 0 h 408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4039" h="408913">
                    <a:moveTo>
                      <a:pt x="0" y="0"/>
                    </a:moveTo>
                    <a:lnTo>
                      <a:pt x="0" y="408914"/>
                    </a:lnTo>
                    <a:lnTo>
                      <a:pt x="354039" y="204523"/>
                    </a:lnTo>
                    <a:cubicBezTo>
                      <a:pt x="275908" y="81650"/>
                      <a:pt x="144886" y="5980"/>
                      <a:pt x="0" y="0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ihandform: Form 276">
                <a:extLst>
                  <a:ext uri="{FF2B5EF4-FFF2-40B4-BE49-F238E27FC236}">
                    <a16:creationId xmlns:a16="http://schemas.microsoft.com/office/drawing/2014/main" id="{2961B940-B25A-D2EE-A21B-0040B03A4A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63460" y="7153887"/>
                <a:ext cx="502469" cy="357187"/>
              </a:xfrm>
              <a:custGeom>
                <a:avLst/>
                <a:gdLst>
                  <a:gd name="connsiteX0" fmla="*/ 116311 w 502469"/>
                  <a:gd name="connsiteY0" fmla="*/ 357188 h 357187"/>
                  <a:gd name="connsiteX1" fmla="*/ 278844 w 502469"/>
                  <a:gd name="connsiteY1" fmla="*/ 199681 h 357187"/>
                  <a:gd name="connsiteX2" fmla="*/ 502470 w 502469"/>
                  <a:gd name="connsiteY2" fmla="*/ 134144 h 357187"/>
                  <a:gd name="connsiteX3" fmla="*/ 502470 w 502469"/>
                  <a:gd name="connsiteY3" fmla="*/ 0 h 357187"/>
                  <a:gd name="connsiteX4" fmla="*/ 0 w 502469"/>
                  <a:gd name="connsiteY4" fmla="*/ 290010 h 357187"/>
                  <a:gd name="connsiteX5" fmla="*/ 116337 w 502469"/>
                  <a:gd name="connsiteY5" fmla="*/ 357161 h 35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469" h="357187">
                    <a:moveTo>
                      <a:pt x="116311" y="357188"/>
                    </a:moveTo>
                    <a:cubicBezTo>
                      <a:pt x="157083" y="292735"/>
                      <a:pt x="213096" y="238416"/>
                      <a:pt x="278844" y="199681"/>
                    </a:cubicBezTo>
                    <a:cubicBezTo>
                      <a:pt x="346631" y="159755"/>
                      <a:pt x="423730" y="137186"/>
                      <a:pt x="502470" y="134144"/>
                    </a:cubicBezTo>
                    <a:lnTo>
                      <a:pt x="502470" y="0"/>
                    </a:lnTo>
                    <a:cubicBezTo>
                      <a:pt x="295566" y="6112"/>
                      <a:pt x="109114" y="113718"/>
                      <a:pt x="0" y="290010"/>
                    </a:cubicBezTo>
                    <a:lnTo>
                      <a:pt x="116337" y="357161"/>
                    </a:ln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ihandform: Form 277">
                <a:extLst>
                  <a:ext uri="{FF2B5EF4-FFF2-40B4-BE49-F238E27FC236}">
                    <a16:creationId xmlns:a16="http://schemas.microsoft.com/office/drawing/2014/main" id="{D048F447-DBE3-605A-8536-4D5EB38D403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11864" y="7325072"/>
                <a:ext cx="354039" cy="408913"/>
              </a:xfrm>
              <a:custGeom>
                <a:avLst/>
                <a:gdLst>
                  <a:gd name="connsiteX0" fmla="*/ 0 w 354039"/>
                  <a:gd name="connsiteY0" fmla="*/ 204523 h 408913"/>
                  <a:gd name="connsiteX1" fmla="*/ 354039 w 354039"/>
                  <a:gd name="connsiteY1" fmla="*/ 408914 h 408913"/>
                  <a:gd name="connsiteX2" fmla="*/ 354039 w 354039"/>
                  <a:gd name="connsiteY2" fmla="*/ 0 h 408913"/>
                  <a:gd name="connsiteX3" fmla="*/ 0 w 354039"/>
                  <a:gd name="connsiteY3" fmla="*/ 204523 h 408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4039" h="408913">
                    <a:moveTo>
                      <a:pt x="0" y="204523"/>
                    </a:moveTo>
                    <a:lnTo>
                      <a:pt x="354039" y="408914"/>
                    </a:lnTo>
                    <a:lnTo>
                      <a:pt x="354039" y="0"/>
                    </a:lnTo>
                    <a:cubicBezTo>
                      <a:pt x="209153" y="5980"/>
                      <a:pt x="78158" y="81650"/>
                      <a:pt x="0" y="204523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ihandform: Form 278">
                <a:extLst>
                  <a:ext uri="{FF2B5EF4-FFF2-40B4-BE49-F238E27FC236}">
                    <a16:creationId xmlns:a16="http://schemas.microsoft.com/office/drawing/2014/main" id="{B1AA2A7E-3A78-A2AD-A45A-0751FF5362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307651" y="7475964"/>
                <a:ext cx="189283" cy="580231"/>
              </a:xfrm>
              <a:custGeom>
                <a:avLst/>
                <a:gdLst>
                  <a:gd name="connsiteX0" fmla="*/ 116311 w 189283"/>
                  <a:gd name="connsiteY0" fmla="*/ 0 h 580231"/>
                  <a:gd name="connsiteX1" fmla="*/ 0 w 189283"/>
                  <a:gd name="connsiteY1" fmla="*/ 67151 h 580231"/>
                  <a:gd name="connsiteX2" fmla="*/ 55245 w 189283"/>
                  <a:gd name="connsiteY2" fmla="*/ 290116 h 580231"/>
                  <a:gd name="connsiteX3" fmla="*/ 0 w 189283"/>
                  <a:gd name="connsiteY3" fmla="*/ 513080 h 580231"/>
                  <a:gd name="connsiteX4" fmla="*/ 116311 w 189283"/>
                  <a:gd name="connsiteY4" fmla="*/ 580231 h 580231"/>
                  <a:gd name="connsiteX5" fmla="*/ 189283 w 189283"/>
                  <a:gd name="connsiteY5" fmla="*/ 290116 h 580231"/>
                  <a:gd name="connsiteX6" fmla="*/ 116311 w 189283"/>
                  <a:gd name="connsiteY6" fmla="*/ 0 h 580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283" h="580231">
                    <a:moveTo>
                      <a:pt x="116311" y="0"/>
                    </a:moveTo>
                    <a:lnTo>
                      <a:pt x="0" y="67151"/>
                    </a:lnTo>
                    <a:cubicBezTo>
                      <a:pt x="36169" y="135573"/>
                      <a:pt x="55245" y="212434"/>
                      <a:pt x="55245" y="290116"/>
                    </a:cubicBezTo>
                    <a:cubicBezTo>
                      <a:pt x="55245" y="367797"/>
                      <a:pt x="36169" y="444632"/>
                      <a:pt x="0" y="513080"/>
                    </a:cubicBezTo>
                    <a:lnTo>
                      <a:pt x="116311" y="580231"/>
                    </a:lnTo>
                    <a:cubicBezTo>
                      <a:pt x="164095" y="491517"/>
                      <a:pt x="189283" y="391451"/>
                      <a:pt x="189283" y="290116"/>
                    </a:cubicBezTo>
                    <a:cubicBezTo>
                      <a:pt x="189283" y="188780"/>
                      <a:pt x="164068" y="88715"/>
                      <a:pt x="1163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ihandform: Form 279">
                <a:extLst>
                  <a:ext uri="{FF2B5EF4-FFF2-40B4-BE49-F238E27FC236}">
                    <a16:creationId xmlns:a16="http://schemas.microsoft.com/office/drawing/2014/main" id="{D1C2A361-23E5-381D-FF86-C06C67BA25F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921466" y="7561662"/>
                <a:ext cx="404362" cy="408834"/>
              </a:xfrm>
              <a:custGeom>
                <a:avLst/>
                <a:gdLst>
                  <a:gd name="connsiteX0" fmla="*/ 404363 w 404362"/>
                  <a:gd name="connsiteY0" fmla="*/ 204417 h 408834"/>
                  <a:gd name="connsiteX1" fmla="*/ 354066 w 404362"/>
                  <a:gd name="connsiteY1" fmla="*/ 0 h 408834"/>
                  <a:gd name="connsiteX2" fmla="*/ 0 w 404362"/>
                  <a:gd name="connsiteY2" fmla="*/ 204417 h 408834"/>
                  <a:gd name="connsiteX3" fmla="*/ 354066 w 404362"/>
                  <a:gd name="connsiteY3" fmla="*/ 408834 h 408834"/>
                  <a:gd name="connsiteX4" fmla="*/ 404363 w 404362"/>
                  <a:gd name="connsiteY4" fmla="*/ 204417 h 408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4362" h="408834">
                    <a:moveTo>
                      <a:pt x="404363" y="204417"/>
                    </a:moveTo>
                    <a:cubicBezTo>
                      <a:pt x="404363" y="133244"/>
                      <a:pt x="387006" y="62786"/>
                      <a:pt x="354066" y="0"/>
                    </a:cubicBezTo>
                    <a:lnTo>
                      <a:pt x="0" y="204417"/>
                    </a:lnTo>
                    <a:lnTo>
                      <a:pt x="354066" y="408834"/>
                    </a:lnTo>
                    <a:cubicBezTo>
                      <a:pt x="387006" y="346022"/>
                      <a:pt x="404363" y="275590"/>
                      <a:pt x="404363" y="204417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ihandform: Form 280">
                <a:extLst>
                  <a:ext uri="{FF2B5EF4-FFF2-40B4-BE49-F238E27FC236}">
                    <a16:creationId xmlns:a16="http://schemas.microsoft.com/office/drawing/2014/main" id="{97315393-CF9E-205E-D11B-C753EDEEBD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443020" y="7561662"/>
                <a:ext cx="404362" cy="408834"/>
              </a:xfrm>
              <a:custGeom>
                <a:avLst/>
                <a:gdLst>
                  <a:gd name="connsiteX0" fmla="*/ 0 w 404362"/>
                  <a:gd name="connsiteY0" fmla="*/ 204417 h 408834"/>
                  <a:gd name="connsiteX1" fmla="*/ 50297 w 404362"/>
                  <a:gd name="connsiteY1" fmla="*/ 408834 h 408834"/>
                  <a:gd name="connsiteX2" fmla="*/ 404362 w 404362"/>
                  <a:gd name="connsiteY2" fmla="*/ 204417 h 408834"/>
                  <a:gd name="connsiteX3" fmla="*/ 50297 w 404362"/>
                  <a:gd name="connsiteY3" fmla="*/ 0 h 408834"/>
                  <a:gd name="connsiteX4" fmla="*/ 0 w 404362"/>
                  <a:gd name="connsiteY4" fmla="*/ 204417 h 408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4362" h="408834">
                    <a:moveTo>
                      <a:pt x="0" y="204417"/>
                    </a:moveTo>
                    <a:cubicBezTo>
                      <a:pt x="0" y="275590"/>
                      <a:pt x="17356" y="346049"/>
                      <a:pt x="50297" y="408834"/>
                    </a:cubicBezTo>
                    <a:lnTo>
                      <a:pt x="404362" y="204417"/>
                    </a:lnTo>
                    <a:lnTo>
                      <a:pt x="50297" y="0"/>
                    </a:lnTo>
                    <a:cubicBezTo>
                      <a:pt x="17356" y="62812"/>
                      <a:pt x="0" y="133244"/>
                      <a:pt x="0" y="204417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ihandform: Form 281">
                <a:extLst>
                  <a:ext uri="{FF2B5EF4-FFF2-40B4-BE49-F238E27FC236}">
                    <a16:creationId xmlns:a16="http://schemas.microsoft.com/office/drawing/2014/main" id="{DFA89011-B562-4CBF-E92B-ECA4C59622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71914" y="7475964"/>
                <a:ext cx="189283" cy="580231"/>
              </a:xfrm>
              <a:custGeom>
                <a:avLst/>
                <a:gdLst>
                  <a:gd name="connsiteX0" fmla="*/ 189283 w 189283"/>
                  <a:gd name="connsiteY0" fmla="*/ 67151 h 580231"/>
                  <a:gd name="connsiteX1" fmla="*/ 72972 w 189283"/>
                  <a:gd name="connsiteY1" fmla="*/ 0 h 580231"/>
                  <a:gd name="connsiteX2" fmla="*/ 0 w 189283"/>
                  <a:gd name="connsiteY2" fmla="*/ 290116 h 580231"/>
                  <a:gd name="connsiteX3" fmla="*/ 72972 w 189283"/>
                  <a:gd name="connsiteY3" fmla="*/ 580231 h 580231"/>
                  <a:gd name="connsiteX4" fmla="*/ 189283 w 189283"/>
                  <a:gd name="connsiteY4" fmla="*/ 513080 h 580231"/>
                  <a:gd name="connsiteX5" fmla="*/ 134038 w 189283"/>
                  <a:gd name="connsiteY5" fmla="*/ 290116 h 580231"/>
                  <a:gd name="connsiteX6" fmla="*/ 189283 w 189283"/>
                  <a:gd name="connsiteY6" fmla="*/ 67151 h 580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9283" h="580231">
                    <a:moveTo>
                      <a:pt x="189283" y="67151"/>
                    </a:moveTo>
                    <a:lnTo>
                      <a:pt x="72972" y="0"/>
                    </a:lnTo>
                    <a:cubicBezTo>
                      <a:pt x="25188" y="88715"/>
                      <a:pt x="0" y="188780"/>
                      <a:pt x="0" y="290116"/>
                    </a:cubicBezTo>
                    <a:cubicBezTo>
                      <a:pt x="0" y="391451"/>
                      <a:pt x="25215" y="491517"/>
                      <a:pt x="72972" y="580231"/>
                    </a:cubicBezTo>
                    <a:lnTo>
                      <a:pt x="189283" y="513080"/>
                    </a:lnTo>
                    <a:cubicBezTo>
                      <a:pt x="153115" y="444659"/>
                      <a:pt x="134038" y="367797"/>
                      <a:pt x="134038" y="290116"/>
                    </a:cubicBezTo>
                    <a:cubicBezTo>
                      <a:pt x="134038" y="212434"/>
                      <a:pt x="153115" y="135573"/>
                      <a:pt x="189283" y="6715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ihandform: Form 282">
                <a:extLst>
                  <a:ext uri="{FF2B5EF4-FFF2-40B4-BE49-F238E27FC236}">
                    <a16:creationId xmlns:a16="http://schemas.microsoft.com/office/drawing/2014/main" id="{92E98DD4-12C5-A935-A500-B395850FEC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11864" y="7798147"/>
                <a:ext cx="354039" cy="408913"/>
              </a:xfrm>
              <a:custGeom>
                <a:avLst/>
                <a:gdLst>
                  <a:gd name="connsiteX0" fmla="*/ 354039 w 354039"/>
                  <a:gd name="connsiteY0" fmla="*/ 408914 h 408913"/>
                  <a:gd name="connsiteX1" fmla="*/ 354039 w 354039"/>
                  <a:gd name="connsiteY1" fmla="*/ 0 h 408913"/>
                  <a:gd name="connsiteX2" fmla="*/ 0 w 354039"/>
                  <a:gd name="connsiteY2" fmla="*/ 204391 h 408913"/>
                  <a:gd name="connsiteX3" fmla="*/ 354039 w 354039"/>
                  <a:gd name="connsiteY3" fmla="*/ 408914 h 408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4039" h="408913">
                    <a:moveTo>
                      <a:pt x="354039" y="408914"/>
                    </a:moveTo>
                    <a:lnTo>
                      <a:pt x="354039" y="0"/>
                    </a:lnTo>
                    <a:lnTo>
                      <a:pt x="0" y="204391"/>
                    </a:lnTo>
                    <a:cubicBezTo>
                      <a:pt x="78158" y="327263"/>
                      <a:pt x="209153" y="402934"/>
                      <a:pt x="354039" y="408914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ihandform: Form 283">
                <a:extLst>
                  <a:ext uri="{FF2B5EF4-FFF2-40B4-BE49-F238E27FC236}">
                    <a16:creationId xmlns:a16="http://schemas.microsoft.com/office/drawing/2014/main" id="{279ED8F3-01D3-B1F2-0A0E-57229F3D21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63433" y="8021085"/>
                <a:ext cx="502469" cy="357161"/>
              </a:xfrm>
              <a:custGeom>
                <a:avLst/>
                <a:gdLst>
                  <a:gd name="connsiteX0" fmla="*/ 116337 w 502469"/>
                  <a:gd name="connsiteY0" fmla="*/ 0 h 357161"/>
                  <a:gd name="connsiteX1" fmla="*/ 0 w 502469"/>
                  <a:gd name="connsiteY1" fmla="*/ 67151 h 357161"/>
                  <a:gd name="connsiteX2" fmla="*/ 502470 w 502469"/>
                  <a:gd name="connsiteY2" fmla="*/ 357161 h 357161"/>
                  <a:gd name="connsiteX3" fmla="*/ 502470 w 502469"/>
                  <a:gd name="connsiteY3" fmla="*/ 223044 h 357161"/>
                  <a:gd name="connsiteX4" fmla="*/ 278844 w 502469"/>
                  <a:gd name="connsiteY4" fmla="*/ 157506 h 357161"/>
                  <a:gd name="connsiteX5" fmla="*/ 116311 w 502469"/>
                  <a:gd name="connsiteY5" fmla="*/ 0 h 357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469" h="357161">
                    <a:moveTo>
                      <a:pt x="116337" y="0"/>
                    </a:moveTo>
                    <a:lnTo>
                      <a:pt x="0" y="67151"/>
                    </a:lnTo>
                    <a:cubicBezTo>
                      <a:pt x="109114" y="243443"/>
                      <a:pt x="295566" y="351049"/>
                      <a:pt x="502470" y="357161"/>
                    </a:cubicBezTo>
                    <a:lnTo>
                      <a:pt x="502470" y="223044"/>
                    </a:lnTo>
                    <a:cubicBezTo>
                      <a:pt x="423756" y="220001"/>
                      <a:pt x="346631" y="197432"/>
                      <a:pt x="278844" y="157506"/>
                    </a:cubicBezTo>
                    <a:cubicBezTo>
                      <a:pt x="213096" y="118771"/>
                      <a:pt x="157109" y="64452"/>
                      <a:pt x="1163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ihandform: Form 284">
                <a:extLst>
                  <a:ext uri="{FF2B5EF4-FFF2-40B4-BE49-F238E27FC236}">
                    <a16:creationId xmlns:a16="http://schemas.microsoft.com/office/drawing/2014/main" id="{9207FF37-1D87-BB8C-1C93-1512DE24B5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902918" y="8021058"/>
                <a:ext cx="502470" cy="357187"/>
              </a:xfrm>
              <a:custGeom>
                <a:avLst/>
                <a:gdLst>
                  <a:gd name="connsiteX0" fmla="*/ 386159 w 502470"/>
                  <a:gd name="connsiteY0" fmla="*/ 26 h 357187"/>
                  <a:gd name="connsiteX1" fmla="*/ 223626 w 502470"/>
                  <a:gd name="connsiteY1" fmla="*/ 157533 h 357187"/>
                  <a:gd name="connsiteX2" fmla="*/ 0 w 502470"/>
                  <a:gd name="connsiteY2" fmla="*/ 223070 h 357187"/>
                  <a:gd name="connsiteX3" fmla="*/ 0 w 502470"/>
                  <a:gd name="connsiteY3" fmla="*/ 357188 h 357187"/>
                  <a:gd name="connsiteX4" fmla="*/ 502471 w 502470"/>
                  <a:gd name="connsiteY4" fmla="*/ 67178 h 357187"/>
                  <a:gd name="connsiteX5" fmla="*/ 386133 w 502470"/>
                  <a:gd name="connsiteY5" fmla="*/ 0 h 35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470" h="357187">
                    <a:moveTo>
                      <a:pt x="386159" y="26"/>
                    </a:moveTo>
                    <a:cubicBezTo>
                      <a:pt x="345387" y="64479"/>
                      <a:pt x="289375" y="118798"/>
                      <a:pt x="223626" y="157533"/>
                    </a:cubicBezTo>
                    <a:cubicBezTo>
                      <a:pt x="155840" y="197459"/>
                      <a:pt x="78740" y="220028"/>
                      <a:pt x="0" y="223070"/>
                    </a:cubicBezTo>
                    <a:lnTo>
                      <a:pt x="0" y="357188"/>
                    </a:lnTo>
                    <a:cubicBezTo>
                      <a:pt x="206904" y="351076"/>
                      <a:pt x="393356" y="243470"/>
                      <a:pt x="502471" y="67178"/>
                    </a:cubicBezTo>
                    <a:lnTo>
                      <a:pt x="386133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ihandform: Form 285">
                <a:extLst>
                  <a:ext uri="{FF2B5EF4-FFF2-40B4-BE49-F238E27FC236}">
                    <a16:creationId xmlns:a16="http://schemas.microsoft.com/office/drawing/2014/main" id="{0D575AE0-B2E2-39A8-1E28-5D5547B549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902945" y="7798173"/>
                <a:ext cx="354039" cy="408913"/>
              </a:xfrm>
              <a:custGeom>
                <a:avLst/>
                <a:gdLst>
                  <a:gd name="connsiteX0" fmla="*/ 354039 w 354039"/>
                  <a:gd name="connsiteY0" fmla="*/ 204391 h 408913"/>
                  <a:gd name="connsiteX1" fmla="*/ 0 w 354039"/>
                  <a:gd name="connsiteY1" fmla="*/ 0 h 408913"/>
                  <a:gd name="connsiteX2" fmla="*/ 0 w 354039"/>
                  <a:gd name="connsiteY2" fmla="*/ 408914 h 408913"/>
                  <a:gd name="connsiteX3" fmla="*/ 354039 w 354039"/>
                  <a:gd name="connsiteY3" fmla="*/ 204391 h 408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4039" h="408913">
                    <a:moveTo>
                      <a:pt x="354039" y="204391"/>
                    </a:moveTo>
                    <a:lnTo>
                      <a:pt x="0" y="0"/>
                    </a:lnTo>
                    <a:lnTo>
                      <a:pt x="0" y="408914"/>
                    </a:lnTo>
                    <a:cubicBezTo>
                      <a:pt x="144886" y="402934"/>
                      <a:pt x="275908" y="327263"/>
                      <a:pt x="354039" y="204391"/>
                    </a:cubicBezTo>
                    <a:close/>
                  </a:path>
                </a:pathLst>
              </a:custGeom>
              <a:grpFill/>
              <a:ln w="26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84" name="Textfeld 4">
              <a:extLst>
                <a:ext uri="{FF2B5EF4-FFF2-40B4-BE49-F238E27FC236}">
                  <a16:creationId xmlns:a16="http://schemas.microsoft.com/office/drawing/2014/main" id="{B6288AC7-0B83-856B-C919-42BFA98FD5CF}"/>
                </a:ext>
              </a:extLst>
            </p:cNvPr>
            <p:cNvSpPr txBox="1">
              <a:spLocks noChangeAspect="1"/>
            </p:cNvSpPr>
            <p:nvPr/>
          </p:nvSpPr>
          <p:spPr>
            <a:xfrm rot="1800000">
              <a:off x="5106294" y="3932267"/>
              <a:ext cx="2032694" cy="203269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85" name="Textfeld 3">
              <a:extLst>
                <a:ext uri="{FF2B5EF4-FFF2-40B4-BE49-F238E27FC236}">
                  <a16:creationId xmlns:a16="http://schemas.microsoft.com/office/drawing/2014/main" id="{4496C45E-4D9F-B742-83BD-7F11B74E0A32}"/>
                </a:ext>
              </a:extLst>
            </p:cNvPr>
            <p:cNvSpPr txBox="1">
              <a:spLocks noChangeAspect="1"/>
            </p:cNvSpPr>
            <p:nvPr/>
          </p:nvSpPr>
          <p:spPr>
            <a:xfrm rot="19800000">
              <a:off x="5106294" y="3932267"/>
              <a:ext cx="2032694" cy="203269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86" name="Textfeld 5">
              <a:extLst>
                <a:ext uri="{FF2B5EF4-FFF2-40B4-BE49-F238E27FC236}">
                  <a16:creationId xmlns:a16="http://schemas.microsoft.com/office/drawing/2014/main" id="{C5317591-AC56-B32A-50E4-4AF4E25AC9E9}"/>
                </a:ext>
              </a:extLst>
            </p:cNvPr>
            <p:cNvSpPr txBox="1">
              <a:spLocks noChangeAspect="1"/>
            </p:cNvSpPr>
            <p:nvPr/>
          </p:nvSpPr>
          <p:spPr>
            <a:xfrm rot="5400000">
              <a:off x="5105938" y="3932623"/>
              <a:ext cx="2033408" cy="203198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87" name="Textfeld 2">
              <a:extLst>
                <a:ext uri="{FF2B5EF4-FFF2-40B4-BE49-F238E27FC236}">
                  <a16:creationId xmlns:a16="http://schemas.microsoft.com/office/drawing/2014/main" id="{E27C03EB-C448-900A-4498-C58905F7FACF}"/>
                </a:ext>
              </a:extLst>
            </p:cNvPr>
            <p:cNvSpPr txBox="1">
              <a:spLocks noChangeAspect="1"/>
            </p:cNvSpPr>
            <p:nvPr/>
          </p:nvSpPr>
          <p:spPr>
            <a:xfrm rot="16200000">
              <a:off x="5105938" y="3932623"/>
              <a:ext cx="2033408" cy="203198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88" name="Textfeld 6">
              <a:extLst>
                <a:ext uri="{FF2B5EF4-FFF2-40B4-BE49-F238E27FC236}">
                  <a16:creationId xmlns:a16="http://schemas.microsoft.com/office/drawing/2014/main" id="{D2165900-D1AA-667D-E871-FAF8B1A0B6CA}"/>
                </a:ext>
              </a:extLst>
            </p:cNvPr>
            <p:cNvSpPr txBox="1">
              <a:spLocks noChangeAspect="1"/>
            </p:cNvSpPr>
            <p:nvPr/>
          </p:nvSpPr>
          <p:spPr>
            <a:xfrm rot="19800000">
              <a:off x="5106294" y="3932267"/>
              <a:ext cx="2032694" cy="203269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89" name="Textfeld 1">
              <a:extLst>
                <a:ext uri="{FF2B5EF4-FFF2-40B4-BE49-F238E27FC236}">
                  <a16:creationId xmlns:a16="http://schemas.microsoft.com/office/drawing/2014/main" id="{C24B7F92-AF8E-AFCA-330C-611E9BA2531E}"/>
                </a:ext>
              </a:extLst>
            </p:cNvPr>
            <p:cNvSpPr txBox="1">
              <a:spLocks noChangeAspect="1"/>
            </p:cNvSpPr>
            <p:nvPr/>
          </p:nvSpPr>
          <p:spPr>
            <a:xfrm rot="1800000">
              <a:off x="5106294" y="3932267"/>
              <a:ext cx="2032694" cy="203269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12AE4E5F-9323-1496-F059-CD2E9ACB9B4B}"/>
              </a:ext>
            </a:extLst>
          </p:cNvPr>
          <p:cNvGrpSpPr>
            <a:grpSpLocks/>
          </p:cNvGrpSpPr>
          <p:nvPr/>
        </p:nvGrpSpPr>
        <p:grpSpPr>
          <a:xfrm>
            <a:off x="7992033" y="3758400"/>
            <a:ext cx="2344018" cy="2366109"/>
            <a:chOff x="7992033" y="3796500"/>
            <a:chExt cx="2344018" cy="2366109"/>
          </a:xfrm>
        </p:grpSpPr>
        <p:sp>
          <p:nvSpPr>
            <p:cNvPr id="61" name="Freihandform: Form 295">
              <a:extLst>
                <a:ext uri="{FF2B5EF4-FFF2-40B4-BE49-F238E27FC236}">
                  <a16:creationId xmlns:a16="http://schemas.microsoft.com/office/drawing/2014/main" id="{2D2C2159-896F-17B5-97C1-F32C2A32B597}"/>
                </a:ext>
              </a:extLst>
            </p:cNvPr>
            <p:cNvSpPr>
              <a:spLocks/>
            </p:cNvSpPr>
            <p:nvPr/>
          </p:nvSpPr>
          <p:spPr>
            <a:xfrm>
              <a:off x="8029720" y="5184621"/>
              <a:ext cx="696190" cy="788519"/>
            </a:xfrm>
            <a:custGeom>
              <a:avLst/>
              <a:gdLst>
                <a:gd name="connsiteX0" fmla="*/ 130783 w 369993"/>
                <a:gd name="connsiteY0" fmla="*/ 0 h 419100"/>
                <a:gd name="connsiteX1" fmla="*/ 0 w 369993"/>
                <a:gd name="connsiteY1" fmla="*/ 30189 h 419100"/>
                <a:gd name="connsiteX2" fmla="*/ 312155 w 369993"/>
                <a:gd name="connsiteY2" fmla="*/ 419100 h 419100"/>
                <a:gd name="connsiteX3" fmla="*/ 369994 w 369993"/>
                <a:gd name="connsiteY3" fmla="*/ 297868 h 419100"/>
                <a:gd name="connsiteX4" fmla="*/ 130810 w 369993"/>
                <a:gd name="connsiteY4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9993" h="419100">
                  <a:moveTo>
                    <a:pt x="130783" y="0"/>
                  </a:moveTo>
                  <a:lnTo>
                    <a:pt x="0" y="30189"/>
                  </a:lnTo>
                  <a:cubicBezTo>
                    <a:pt x="44079" y="198385"/>
                    <a:pt x="157057" y="339196"/>
                    <a:pt x="312155" y="419100"/>
                  </a:cubicBezTo>
                  <a:lnTo>
                    <a:pt x="369994" y="297868"/>
                  </a:lnTo>
                  <a:cubicBezTo>
                    <a:pt x="252095" y="235717"/>
                    <a:pt x="165656" y="128085"/>
                    <a:pt x="130810" y="0"/>
                  </a:cubicBez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299">
              <a:extLst>
                <a:ext uri="{FF2B5EF4-FFF2-40B4-BE49-F238E27FC236}">
                  <a16:creationId xmlns:a16="http://schemas.microsoft.com/office/drawing/2014/main" id="{5CB3A9EC-ADB8-A4BF-D3C0-23D9E4986367}"/>
                </a:ext>
              </a:extLst>
            </p:cNvPr>
            <p:cNvSpPr>
              <a:spLocks/>
            </p:cNvSpPr>
            <p:nvPr/>
          </p:nvSpPr>
          <p:spPr>
            <a:xfrm>
              <a:off x="8679961" y="5771979"/>
              <a:ext cx="938393" cy="328747"/>
            </a:xfrm>
            <a:custGeom>
              <a:avLst/>
              <a:gdLst>
                <a:gd name="connsiteX0" fmla="*/ 439817 w 498713"/>
                <a:gd name="connsiteY0" fmla="*/ 0 h 174730"/>
                <a:gd name="connsiteX1" fmla="*/ 246909 w 498713"/>
                <a:gd name="connsiteY1" fmla="*/ 40666 h 174730"/>
                <a:gd name="connsiteX2" fmla="*/ 57811 w 498713"/>
                <a:gd name="connsiteY2" fmla="*/ 1693 h 174730"/>
                <a:gd name="connsiteX3" fmla="*/ 0 w 498713"/>
                <a:gd name="connsiteY3" fmla="*/ 122899 h 174730"/>
                <a:gd name="connsiteX4" fmla="*/ 246909 w 498713"/>
                <a:gd name="connsiteY4" fmla="*/ 174731 h 174730"/>
                <a:gd name="connsiteX5" fmla="*/ 498713 w 498713"/>
                <a:gd name="connsiteY5" fmla="*/ 120703 h 174730"/>
                <a:gd name="connsiteX6" fmla="*/ 439843 w 498713"/>
                <a:gd name="connsiteY6" fmla="*/ 0 h 174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713" h="174730">
                  <a:moveTo>
                    <a:pt x="439817" y="0"/>
                  </a:moveTo>
                  <a:cubicBezTo>
                    <a:pt x="378883" y="26988"/>
                    <a:pt x="314034" y="40666"/>
                    <a:pt x="246909" y="40666"/>
                  </a:cubicBezTo>
                  <a:cubicBezTo>
                    <a:pt x="179784" y="40666"/>
                    <a:pt x="117634" y="27570"/>
                    <a:pt x="57811" y="1693"/>
                  </a:cubicBezTo>
                  <a:lnTo>
                    <a:pt x="0" y="122899"/>
                  </a:lnTo>
                  <a:cubicBezTo>
                    <a:pt x="77946" y="157295"/>
                    <a:pt x="160946" y="174731"/>
                    <a:pt x="246909" y="174731"/>
                  </a:cubicBezTo>
                  <a:cubicBezTo>
                    <a:pt x="332872" y="174731"/>
                    <a:pt x="419391" y="156554"/>
                    <a:pt x="498713" y="120703"/>
                  </a:cubicBezTo>
                  <a:lnTo>
                    <a:pt x="439843" y="0"/>
                  </a:ln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Textfeld 4">
              <a:extLst>
                <a:ext uri="{FF2B5EF4-FFF2-40B4-BE49-F238E27FC236}">
                  <a16:creationId xmlns:a16="http://schemas.microsoft.com/office/drawing/2014/main" id="{758EE0BF-3DB4-FF59-3890-CE5C8411E510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134177" y="3961455"/>
              <a:ext cx="2020749" cy="202003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52" name="Freihandform: Form 286">
              <a:extLst>
                <a:ext uri="{FF2B5EF4-FFF2-40B4-BE49-F238E27FC236}">
                  <a16:creationId xmlns:a16="http://schemas.microsoft.com/office/drawing/2014/main" id="{19DE7A96-7CFC-31F4-6B83-BEB797006D04}"/>
                </a:ext>
              </a:extLst>
            </p:cNvPr>
            <p:cNvSpPr>
              <a:spLocks/>
            </p:cNvSpPr>
            <p:nvPr/>
          </p:nvSpPr>
          <p:spPr>
            <a:xfrm>
              <a:off x="7992033" y="4258509"/>
              <a:ext cx="427104" cy="915010"/>
            </a:xfrm>
            <a:custGeom>
              <a:avLst/>
              <a:gdLst>
                <a:gd name="connsiteX0" fmla="*/ 11722 w 226986"/>
                <a:gd name="connsiteY0" fmla="*/ 486331 h 486330"/>
                <a:gd name="connsiteX1" fmla="*/ 142478 w 226986"/>
                <a:gd name="connsiteY1" fmla="*/ 456142 h 486330"/>
                <a:gd name="connsiteX2" fmla="*/ 134065 w 226986"/>
                <a:gd name="connsiteY2" fmla="*/ 366633 h 486330"/>
                <a:gd name="connsiteX3" fmla="*/ 226986 w 226986"/>
                <a:gd name="connsiteY3" fmla="*/ 83635 h 486330"/>
                <a:gd name="connsiteX4" fmla="*/ 121841 w 226986"/>
                <a:gd name="connsiteY4" fmla="*/ 0 h 486330"/>
                <a:gd name="connsiteX5" fmla="*/ 0 w 226986"/>
                <a:gd name="connsiteY5" fmla="*/ 366633 h 486330"/>
                <a:gd name="connsiteX6" fmla="*/ 11722 w 226986"/>
                <a:gd name="connsiteY6" fmla="*/ 486331 h 486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986" h="486330">
                  <a:moveTo>
                    <a:pt x="11722" y="486331"/>
                  </a:moveTo>
                  <a:lnTo>
                    <a:pt x="142478" y="456142"/>
                  </a:lnTo>
                  <a:cubicBezTo>
                    <a:pt x="136895" y="426694"/>
                    <a:pt x="134065" y="396637"/>
                    <a:pt x="134065" y="366633"/>
                  </a:cubicBezTo>
                  <a:cubicBezTo>
                    <a:pt x="134065" y="263816"/>
                    <a:pt x="166158" y="166185"/>
                    <a:pt x="226986" y="83635"/>
                  </a:cubicBezTo>
                  <a:lnTo>
                    <a:pt x="121841" y="0"/>
                  </a:lnTo>
                  <a:cubicBezTo>
                    <a:pt x="42096" y="106468"/>
                    <a:pt x="0" y="232992"/>
                    <a:pt x="0" y="366633"/>
                  </a:cubicBezTo>
                  <a:cubicBezTo>
                    <a:pt x="0" y="406797"/>
                    <a:pt x="3942" y="447014"/>
                    <a:pt x="11722" y="486331"/>
                  </a:cubicBez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ihandform: Form 287">
              <a:extLst>
                <a:ext uri="{FF2B5EF4-FFF2-40B4-BE49-F238E27FC236}">
                  <a16:creationId xmlns:a16="http://schemas.microsoft.com/office/drawing/2014/main" id="{3E3F1A2A-2F02-4450-0713-A6F747ACA330}"/>
                </a:ext>
              </a:extLst>
            </p:cNvPr>
            <p:cNvSpPr>
              <a:spLocks/>
            </p:cNvSpPr>
            <p:nvPr/>
          </p:nvSpPr>
          <p:spPr>
            <a:xfrm>
              <a:off x="8313993" y="4459323"/>
              <a:ext cx="752345" cy="641717"/>
            </a:xfrm>
            <a:custGeom>
              <a:avLst/>
              <a:gdLst>
                <a:gd name="connsiteX0" fmla="*/ 0 w 399837"/>
                <a:gd name="connsiteY0" fmla="*/ 259900 h 341074"/>
                <a:gd name="connsiteX1" fmla="*/ 7514 w 399837"/>
                <a:gd name="connsiteY1" fmla="*/ 341074 h 341074"/>
                <a:gd name="connsiteX2" fmla="*/ 399838 w 399837"/>
                <a:gd name="connsiteY2" fmla="*/ 250508 h 341074"/>
                <a:gd name="connsiteX3" fmla="*/ 84878 w 399837"/>
                <a:gd name="connsiteY3" fmla="*/ 0 h 341074"/>
                <a:gd name="connsiteX4" fmla="*/ 0 w 399837"/>
                <a:gd name="connsiteY4" fmla="*/ 259927 h 34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837" h="341074">
                  <a:moveTo>
                    <a:pt x="0" y="259900"/>
                  </a:moveTo>
                  <a:cubicBezTo>
                    <a:pt x="0" y="287126"/>
                    <a:pt x="2513" y="314352"/>
                    <a:pt x="7514" y="341074"/>
                  </a:cubicBezTo>
                  <a:lnTo>
                    <a:pt x="399838" y="250508"/>
                  </a:lnTo>
                  <a:lnTo>
                    <a:pt x="84878" y="0"/>
                  </a:lnTo>
                  <a:cubicBezTo>
                    <a:pt x="29315" y="75909"/>
                    <a:pt x="0" y="165550"/>
                    <a:pt x="0" y="259927"/>
                  </a:cubicBezTo>
                  <a:close/>
                </a:path>
              </a:pathLst>
            </a:custGeom>
            <a:solidFill>
              <a:schemeClr val="bg2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ihandform: Form 288">
              <a:extLst>
                <a:ext uri="{FF2B5EF4-FFF2-40B4-BE49-F238E27FC236}">
                  <a16:creationId xmlns:a16="http://schemas.microsoft.com/office/drawing/2014/main" id="{388DC702-2691-9CDF-800F-E488B86F7CA0}"/>
                </a:ext>
              </a:extLst>
            </p:cNvPr>
            <p:cNvSpPr>
              <a:spLocks/>
            </p:cNvSpPr>
            <p:nvPr/>
          </p:nvSpPr>
          <p:spPr>
            <a:xfrm>
              <a:off x="9179400" y="3796500"/>
              <a:ext cx="838475" cy="558932"/>
            </a:xfrm>
            <a:custGeom>
              <a:avLst/>
              <a:gdLst>
                <a:gd name="connsiteX0" fmla="*/ 341181 w 445611"/>
                <a:gd name="connsiteY0" fmla="*/ 297074 h 297074"/>
                <a:gd name="connsiteX1" fmla="*/ 445612 w 445611"/>
                <a:gd name="connsiteY1" fmla="*/ 212513 h 297074"/>
                <a:gd name="connsiteX2" fmla="*/ 0 w 445611"/>
                <a:gd name="connsiteY2" fmla="*/ 0 h 297074"/>
                <a:gd name="connsiteX3" fmla="*/ 0 w 445611"/>
                <a:gd name="connsiteY3" fmla="*/ 134117 h 297074"/>
                <a:gd name="connsiteX4" fmla="*/ 341181 w 445611"/>
                <a:gd name="connsiteY4" fmla="*/ 297074 h 29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611" h="297074">
                  <a:moveTo>
                    <a:pt x="341181" y="297074"/>
                  </a:moveTo>
                  <a:lnTo>
                    <a:pt x="445612" y="212513"/>
                  </a:lnTo>
                  <a:cubicBezTo>
                    <a:pt x="333190" y="82074"/>
                    <a:pt x="171874" y="5159"/>
                    <a:pt x="0" y="0"/>
                  </a:cubicBezTo>
                  <a:lnTo>
                    <a:pt x="0" y="134117"/>
                  </a:lnTo>
                  <a:cubicBezTo>
                    <a:pt x="131048" y="139171"/>
                    <a:pt x="254344" y="198041"/>
                    <a:pt x="341181" y="297074"/>
                  </a:cubicBez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ihandform: Form 289">
              <a:extLst>
                <a:ext uri="{FF2B5EF4-FFF2-40B4-BE49-F238E27FC236}">
                  <a16:creationId xmlns:a16="http://schemas.microsoft.com/office/drawing/2014/main" id="{F55764E0-FFD3-7A4D-53DC-FE41BDC2BF7F}"/>
                </a:ext>
              </a:extLst>
            </p:cNvPr>
            <p:cNvSpPr>
              <a:spLocks/>
            </p:cNvSpPr>
            <p:nvPr/>
          </p:nvSpPr>
          <p:spPr>
            <a:xfrm>
              <a:off x="9179400" y="4118577"/>
              <a:ext cx="587808" cy="756659"/>
            </a:xfrm>
            <a:custGeom>
              <a:avLst/>
              <a:gdLst>
                <a:gd name="connsiteX0" fmla="*/ 0 w 312393"/>
                <a:gd name="connsiteY0" fmla="*/ 26 h 402166"/>
                <a:gd name="connsiteX1" fmla="*/ 0 w 312393"/>
                <a:gd name="connsiteY1" fmla="*/ 402167 h 402166"/>
                <a:gd name="connsiteX2" fmla="*/ 312394 w 312393"/>
                <a:gd name="connsiteY2" fmla="*/ 149199 h 402166"/>
                <a:gd name="connsiteX3" fmla="*/ 0 w 312393"/>
                <a:gd name="connsiteY3" fmla="*/ 0 h 402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393" h="402166">
                  <a:moveTo>
                    <a:pt x="0" y="26"/>
                  </a:moveTo>
                  <a:lnTo>
                    <a:pt x="0" y="402167"/>
                  </a:lnTo>
                  <a:lnTo>
                    <a:pt x="312394" y="149199"/>
                  </a:lnTo>
                  <a:cubicBezTo>
                    <a:pt x="232649" y="58870"/>
                    <a:pt x="119883" y="5001"/>
                    <a:pt x="0" y="0"/>
                  </a:cubicBezTo>
                  <a:close/>
                </a:path>
              </a:pathLst>
            </a:custGeom>
            <a:solidFill>
              <a:schemeClr val="bg2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ihandform: Form 290">
              <a:extLst>
                <a:ext uri="{FF2B5EF4-FFF2-40B4-BE49-F238E27FC236}">
                  <a16:creationId xmlns:a16="http://schemas.microsoft.com/office/drawing/2014/main" id="{C408124E-71B9-62A3-FE3A-FEA7D181827D}"/>
                </a:ext>
              </a:extLst>
            </p:cNvPr>
            <p:cNvSpPr>
              <a:spLocks/>
            </p:cNvSpPr>
            <p:nvPr/>
          </p:nvSpPr>
          <p:spPr>
            <a:xfrm>
              <a:off x="9865335" y="4250396"/>
              <a:ext cx="431732" cy="913219"/>
            </a:xfrm>
            <a:custGeom>
              <a:avLst/>
              <a:gdLst>
                <a:gd name="connsiteX0" fmla="*/ 104404 w 229446"/>
                <a:gd name="connsiteY0" fmla="*/ 26 h 485378"/>
                <a:gd name="connsiteX1" fmla="*/ 0 w 229446"/>
                <a:gd name="connsiteY1" fmla="*/ 84561 h 485378"/>
                <a:gd name="connsiteX2" fmla="*/ 95382 w 229446"/>
                <a:gd name="connsiteY2" fmla="*/ 370919 h 485378"/>
                <a:gd name="connsiteX3" fmla="*/ 87736 w 229446"/>
                <a:gd name="connsiteY3" fmla="*/ 456327 h 485378"/>
                <a:gd name="connsiteX4" fmla="*/ 218758 w 229446"/>
                <a:gd name="connsiteY4" fmla="*/ 485378 h 485378"/>
                <a:gd name="connsiteX5" fmla="*/ 229447 w 229446"/>
                <a:gd name="connsiteY5" fmla="*/ 370919 h 485378"/>
                <a:gd name="connsiteX6" fmla="*/ 104404 w 229446"/>
                <a:gd name="connsiteY6" fmla="*/ 0 h 485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446" h="485378">
                  <a:moveTo>
                    <a:pt x="104404" y="26"/>
                  </a:moveTo>
                  <a:lnTo>
                    <a:pt x="0" y="84561"/>
                  </a:lnTo>
                  <a:cubicBezTo>
                    <a:pt x="62442" y="167772"/>
                    <a:pt x="95382" y="266568"/>
                    <a:pt x="95382" y="370919"/>
                  </a:cubicBezTo>
                  <a:cubicBezTo>
                    <a:pt x="95382" y="399574"/>
                    <a:pt x="92816" y="428255"/>
                    <a:pt x="87736" y="456327"/>
                  </a:cubicBezTo>
                  <a:lnTo>
                    <a:pt x="218758" y="485378"/>
                  </a:lnTo>
                  <a:cubicBezTo>
                    <a:pt x="225849" y="447807"/>
                    <a:pt x="229447" y="409363"/>
                    <a:pt x="229447" y="370919"/>
                  </a:cubicBezTo>
                  <a:cubicBezTo>
                    <a:pt x="229447" y="235320"/>
                    <a:pt x="186241" y="107315"/>
                    <a:pt x="104404" y="0"/>
                  </a:cubicBez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ihandform: Form 291">
              <a:extLst>
                <a:ext uri="{FF2B5EF4-FFF2-40B4-BE49-F238E27FC236}">
                  <a16:creationId xmlns:a16="http://schemas.microsoft.com/office/drawing/2014/main" id="{1E975B1A-B434-DA92-2E2E-78DBEB09942D}"/>
                </a:ext>
              </a:extLst>
            </p:cNvPr>
            <p:cNvSpPr>
              <a:spLocks/>
            </p:cNvSpPr>
            <p:nvPr/>
          </p:nvSpPr>
          <p:spPr>
            <a:xfrm>
              <a:off x="9222615" y="4453400"/>
              <a:ext cx="752496" cy="640471"/>
            </a:xfrm>
            <a:custGeom>
              <a:avLst/>
              <a:gdLst>
                <a:gd name="connsiteX0" fmla="*/ 399917 w 399917"/>
                <a:gd name="connsiteY0" fmla="*/ 263049 h 340412"/>
                <a:gd name="connsiteX1" fmla="*/ 312764 w 399917"/>
                <a:gd name="connsiteY1" fmla="*/ 0 h 340412"/>
                <a:gd name="connsiteX2" fmla="*/ 0 w 399917"/>
                <a:gd name="connsiteY2" fmla="*/ 253259 h 340412"/>
                <a:gd name="connsiteX3" fmla="*/ 393117 w 399917"/>
                <a:gd name="connsiteY3" fmla="*/ 340413 h 340412"/>
                <a:gd name="connsiteX4" fmla="*/ 399917 w 399917"/>
                <a:gd name="connsiteY4" fmla="*/ 263022 h 340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9917" h="340412">
                  <a:moveTo>
                    <a:pt x="399917" y="263049"/>
                  </a:moveTo>
                  <a:cubicBezTo>
                    <a:pt x="399917" y="167243"/>
                    <a:pt x="369835" y="76544"/>
                    <a:pt x="312764" y="0"/>
                  </a:cubicBezTo>
                  <a:lnTo>
                    <a:pt x="0" y="253259"/>
                  </a:lnTo>
                  <a:lnTo>
                    <a:pt x="393117" y="340413"/>
                  </a:lnTo>
                  <a:cubicBezTo>
                    <a:pt x="397642" y="314960"/>
                    <a:pt x="399917" y="288978"/>
                    <a:pt x="399917" y="263022"/>
                  </a:cubicBezTo>
                  <a:close/>
                </a:path>
              </a:pathLst>
            </a:custGeom>
            <a:solidFill>
              <a:schemeClr val="bg2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ihandform: Form 292">
              <a:extLst>
                <a:ext uri="{FF2B5EF4-FFF2-40B4-BE49-F238E27FC236}">
                  <a16:creationId xmlns:a16="http://schemas.microsoft.com/office/drawing/2014/main" id="{67548FD7-7160-E4C8-CCD8-27A0221EC952}"/>
                </a:ext>
              </a:extLst>
            </p:cNvPr>
            <p:cNvSpPr>
              <a:spLocks/>
            </p:cNvSpPr>
            <p:nvPr/>
          </p:nvSpPr>
          <p:spPr>
            <a:xfrm>
              <a:off x="8264706" y="3796500"/>
              <a:ext cx="844997" cy="564855"/>
            </a:xfrm>
            <a:custGeom>
              <a:avLst/>
              <a:gdLst>
                <a:gd name="connsiteX0" fmla="*/ 105119 w 449077"/>
                <a:gd name="connsiteY0" fmla="*/ 300196 h 300222"/>
                <a:gd name="connsiteX1" fmla="*/ 449077 w 449077"/>
                <a:gd name="connsiteY1" fmla="*/ 134117 h 300222"/>
                <a:gd name="connsiteX2" fmla="*/ 449077 w 449077"/>
                <a:gd name="connsiteY2" fmla="*/ 0 h 300222"/>
                <a:gd name="connsiteX3" fmla="*/ 0 w 449077"/>
                <a:gd name="connsiteY3" fmla="*/ 216588 h 300222"/>
                <a:gd name="connsiteX4" fmla="*/ 105145 w 449077"/>
                <a:gd name="connsiteY4" fmla="*/ 300223 h 30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9077" h="300222">
                  <a:moveTo>
                    <a:pt x="105119" y="300196"/>
                  </a:moveTo>
                  <a:cubicBezTo>
                    <a:pt x="192114" y="199258"/>
                    <a:pt x="316415" y="139224"/>
                    <a:pt x="449077" y="134117"/>
                  </a:cubicBezTo>
                  <a:lnTo>
                    <a:pt x="449077" y="0"/>
                  </a:lnTo>
                  <a:cubicBezTo>
                    <a:pt x="275167" y="5186"/>
                    <a:pt x="112580" y="83608"/>
                    <a:pt x="0" y="216588"/>
                  </a:cubicBezTo>
                  <a:lnTo>
                    <a:pt x="105145" y="300223"/>
                  </a:ln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293">
              <a:extLst>
                <a:ext uri="{FF2B5EF4-FFF2-40B4-BE49-F238E27FC236}">
                  <a16:creationId xmlns:a16="http://schemas.microsoft.com/office/drawing/2014/main" id="{E43E5B7A-4F9F-AD15-DB8F-896135A0429D}"/>
                </a:ext>
              </a:extLst>
            </p:cNvPr>
            <p:cNvSpPr>
              <a:spLocks/>
            </p:cNvSpPr>
            <p:nvPr/>
          </p:nvSpPr>
          <p:spPr>
            <a:xfrm>
              <a:off x="8517064" y="4118577"/>
              <a:ext cx="592585" cy="757456"/>
            </a:xfrm>
            <a:custGeom>
              <a:avLst/>
              <a:gdLst>
                <a:gd name="connsiteX0" fmla="*/ 0 w 314932"/>
                <a:gd name="connsiteY0" fmla="*/ 152083 h 402590"/>
                <a:gd name="connsiteX1" fmla="*/ 314933 w 314932"/>
                <a:gd name="connsiteY1" fmla="*/ 402590 h 402590"/>
                <a:gd name="connsiteX2" fmla="*/ 314933 w 314932"/>
                <a:gd name="connsiteY2" fmla="*/ 0 h 402590"/>
                <a:gd name="connsiteX3" fmla="*/ 0 w 314932"/>
                <a:gd name="connsiteY3" fmla="*/ 152083 h 402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932" h="402590">
                  <a:moveTo>
                    <a:pt x="0" y="152083"/>
                  </a:moveTo>
                  <a:lnTo>
                    <a:pt x="314933" y="402590"/>
                  </a:lnTo>
                  <a:lnTo>
                    <a:pt x="314933" y="0"/>
                  </a:lnTo>
                  <a:cubicBezTo>
                    <a:pt x="193595" y="5080"/>
                    <a:pt x="79878" y="59981"/>
                    <a:pt x="0" y="152083"/>
                  </a:cubicBezTo>
                  <a:close/>
                </a:path>
              </a:pathLst>
            </a:custGeom>
            <a:solidFill>
              <a:schemeClr val="bg2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294">
              <a:extLst>
                <a:ext uri="{FF2B5EF4-FFF2-40B4-BE49-F238E27FC236}">
                  <a16:creationId xmlns:a16="http://schemas.microsoft.com/office/drawing/2014/main" id="{5E309C4F-1AE2-E555-EF6B-98CD70F6D7EC}"/>
                </a:ext>
              </a:extLst>
            </p:cNvPr>
            <p:cNvSpPr>
              <a:spLocks/>
            </p:cNvSpPr>
            <p:nvPr/>
          </p:nvSpPr>
          <p:spPr>
            <a:xfrm>
              <a:off x="8343764" y="4998494"/>
              <a:ext cx="738208" cy="683581"/>
            </a:xfrm>
            <a:custGeom>
              <a:avLst/>
              <a:gdLst>
                <a:gd name="connsiteX0" fmla="*/ 219022 w 392324"/>
                <a:gd name="connsiteY0" fmla="*/ 363326 h 363325"/>
                <a:gd name="connsiteX1" fmla="*/ 392324 w 392324"/>
                <a:gd name="connsiteY1" fmla="*/ 0 h 363325"/>
                <a:gd name="connsiteX2" fmla="*/ 0 w 392324"/>
                <a:gd name="connsiteY2" fmla="*/ 90567 h 363325"/>
                <a:gd name="connsiteX3" fmla="*/ 219022 w 392324"/>
                <a:gd name="connsiteY3" fmla="*/ 363299 h 36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2324" h="363325">
                  <a:moveTo>
                    <a:pt x="219022" y="363326"/>
                  </a:moveTo>
                  <a:lnTo>
                    <a:pt x="392324" y="0"/>
                  </a:lnTo>
                  <a:lnTo>
                    <a:pt x="0" y="90567"/>
                  </a:lnTo>
                  <a:cubicBezTo>
                    <a:pt x="32253" y="207619"/>
                    <a:pt x="111336" y="306096"/>
                    <a:pt x="219022" y="363299"/>
                  </a:cubicBezTo>
                  <a:close/>
                </a:path>
              </a:pathLst>
            </a:custGeom>
            <a:solidFill>
              <a:schemeClr val="bg2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296">
              <a:extLst>
                <a:ext uri="{FF2B5EF4-FFF2-40B4-BE49-F238E27FC236}">
                  <a16:creationId xmlns:a16="http://schemas.microsoft.com/office/drawing/2014/main" id="{6018C2CA-C328-E664-3896-EF129B6E66EB}"/>
                </a:ext>
              </a:extLst>
            </p:cNvPr>
            <p:cNvSpPr>
              <a:spLocks/>
            </p:cNvSpPr>
            <p:nvPr/>
          </p:nvSpPr>
          <p:spPr>
            <a:xfrm>
              <a:off x="9207530" y="4997945"/>
              <a:ext cx="739701" cy="680744"/>
            </a:xfrm>
            <a:custGeom>
              <a:avLst/>
              <a:gdLst>
                <a:gd name="connsiteX0" fmla="*/ 176477 w 393117"/>
                <a:gd name="connsiteY0" fmla="*/ 361818 h 361817"/>
                <a:gd name="connsiteX1" fmla="*/ 393117 w 393117"/>
                <a:gd name="connsiteY1" fmla="*/ 87154 h 361817"/>
                <a:gd name="connsiteX2" fmla="*/ 0 w 393117"/>
                <a:gd name="connsiteY2" fmla="*/ 0 h 361817"/>
                <a:gd name="connsiteX3" fmla="*/ 176477 w 393117"/>
                <a:gd name="connsiteY3" fmla="*/ 361818 h 36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117" h="361817">
                  <a:moveTo>
                    <a:pt x="176477" y="361818"/>
                  </a:moveTo>
                  <a:cubicBezTo>
                    <a:pt x="283660" y="303662"/>
                    <a:pt x="361871" y="204497"/>
                    <a:pt x="393117" y="87154"/>
                  </a:cubicBezTo>
                  <a:lnTo>
                    <a:pt x="0" y="0"/>
                  </a:lnTo>
                  <a:lnTo>
                    <a:pt x="176477" y="361818"/>
                  </a:lnTo>
                  <a:close/>
                </a:path>
              </a:pathLst>
            </a:custGeom>
            <a:solidFill>
              <a:schemeClr val="bg2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297">
              <a:extLst>
                <a:ext uri="{FF2B5EF4-FFF2-40B4-BE49-F238E27FC236}">
                  <a16:creationId xmlns:a16="http://schemas.microsoft.com/office/drawing/2014/main" id="{EA0C4B7F-5501-749F-4711-B4D498F682AD}"/>
                </a:ext>
              </a:extLst>
            </p:cNvPr>
            <p:cNvSpPr>
              <a:spLocks/>
            </p:cNvSpPr>
            <p:nvPr/>
          </p:nvSpPr>
          <p:spPr>
            <a:xfrm>
              <a:off x="9570161" y="5177005"/>
              <a:ext cx="691760" cy="791456"/>
            </a:xfrm>
            <a:custGeom>
              <a:avLst/>
              <a:gdLst>
                <a:gd name="connsiteX0" fmla="*/ 236591 w 367639"/>
                <a:gd name="connsiteY0" fmla="*/ 0 h 420661"/>
                <a:gd name="connsiteX1" fmla="*/ 0 w 367639"/>
                <a:gd name="connsiteY1" fmla="*/ 299958 h 420661"/>
                <a:gd name="connsiteX2" fmla="*/ 58870 w 367639"/>
                <a:gd name="connsiteY2" fmla="*/ 420661 h 420661"/>
                <a:gd name="connsiteX3" fmla="*/ 367639 w 367639"/>
                <a:gd name="connsiteY3" fmla="*/ 29051 h 420661"/>
                <a:gd name="connsiteX4" fmla="*/ 236564 w 367639"/>
                <a:gd name="connsiteY4" fmla="*/ 0 h 420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639" h="420661">
                  <a:moveTo>
                    <a:pt x="236591" y="0"/>
                  </a:moveTo>
                  <a:cubicBezTo>
                    <a:pt x="202883" y="128376"/>
                    <a:pt x="117369" y="236802"/>
                    <a:pt x="0" y="299958"/>
                  </a:cubicBezTo>
                  <a:lnTo>
                    <a:pt x="58870" y="420661"/>
                  </a:lnTo>
                  <a:cubicBezTo>
                    <a:pt x="213281" y="339381"/>
                    <a:pt x="325041" y="197617"/>
                    <a:pt x="367639" y="29051"/>
                  </a:cubicBezTo>
                  <a:lnTo>
                    <a:pt x="236564" y="0"/>
                  </a:lnTo>
                  <a:close/>
                </a:path>
              </a:pathLst>
            </a:custGeom>
            <a:solidFill>
              <a:schemeClr val="accent1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298">
              <a:extLst>
                <a:ext uri="{FF2B5EF4-FFF2-40B4-BE49-F238E27FC236}">
                  <a16:creationId xmlns:a16="http://schemas.microsoft.com/office/drawing/2014/main" id="{C59C2212-846C-0F04-8E89-78824FCDB0D5}"/>
                </a:ext>
              </a:extLst>
            </p:cNvPr>
            <p:cNvSpPr>
              <a:spLocks/>
            </p:cNvSpPr>
            <p:nvPr/>
          </p:nvSpPr>
          <p:spPr>
            <a:xfrm>
              <a:off x="8818759" y="5028511"/>
              <a:ext cx="658203" cy="750288"/>
            </a:xfrm>
            <a:custGeom>
              <a:avLst/>
              <a:gdLst>
                <a:gd name="connsiteX0" fmla="*/ 0 w 349805"/>
                <a:gd name="connsiteY0" fmla="*/ 363379 h 398780"/>
                <a:gd name="connsiteX1" fmla="*/ 173143 w 349805"/>
                <a:gd name="connsiteY1" fmla="*/ 398780 h 398780"/>
                <a:gd name="connsiteX2" fmla="*/ 349806 w 349805"/>
                <a:gd name="connsiteY2" fmla="*/ 361844 h 398780"/>
                <a:gd name="connsiteX3" fmla="*/ 173329 w 349805"/>
                <a:gd name="connsiteY3" fmla="*/ 0 h 398780"/>
                <a:gd name="connsiteX4" fmla="*/ 0 w 349805"/>
                <a:gd name="connsiteY4" fmla="*/ 363379 h 39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805" h="398780">
                  <a:moveTo>
                    <a:pt x="0" y="363379"/>
                  </a:moveTo>
                  <a:cubicBezTo>
                    <a:pt x="54822" y="386874"/>
                    <a:pt x="113003" y="398780"/>
                    <a:pt x="173143" y="398780"/>
                  </a:cubicBezTo>
                  <a:cubicBezTo>
                    <a:pt x="233283" y="398780"/>
                    <a:pt x="293979" y="386345"/>
                    <a:pt x="349806" y="361844"/>
                  </a:cubicBezTo>
                  <a:lnTo>
                    <a:pt x="173329" y="0"/>
                  </a:lnTo>
                  <a:lnTo>
                    <a:pt x="0" y="363379"/>
                  </a:lnTo>
                  <a:close/>
                </a:path>
              </a:pathLst>
            </a:custGeom>
            <a:solidFill>
              <a:schemeClr val="bg2"/>
            </a:solidFill>
            <a:ln w="26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Textfeld 2">
              <a:extLst>
                <a:ext uri="{FF2B5EF4-FFF2-40B4-BE49-F238E27FC236}">
                  <a16:creationId xmlns:a16="http://schemas.microsoft.com/office/drawing/2014/main" id="{AA58ABAA-86BF-E75F-3D3C-CB00F52A6EF2}"/>
                </a:ext>
              </a:extLst>
            </p:cNvPr>
            <p:cNvSpPr txBox="1">
              <a:spLocks noChangeAspect="1"/>
            </p:cNvSpPr>
            <p:nvPr/>
          </p:nvSpPr>
          <p:spPr>
            <a:xfrm rot="4566256">
              <a:off x="8115741" y="3943023"/>
              <a:ext cx="2057622" cy="205690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92" name="Textfeld 6">
              <a:extLst>
                <a:ext uri="{FF2B5EF4-FFF2-40B4-BE49-F238E27FC236}">
                  <a16:creationId xmlns:a16="http://schemas.microsoft.com/office/drawing/2014/main" id="{06562E6A-E0C9-7DCF-7257-6C51521FC56E}"/>
                </a:ext>
              </a:extLst>
            </p:cNvPr>
            <p:cNvSpPr txBox="1">
              <a:spLocks/>
            </p:cNvSpPr>
            <p:nvPr/>
          </p:nvSpPr>
          <p:spPr>
            <a:xfrm rot="17014428">
              <a:off x="8105453" y="3932739"/>
              <a:ext cx="2078198" cy="207747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95" name="Textfeld 3">
              <a:extLst>
                <a:ext uri="{FF2B5EF4-FFF2-40B4-BE49-F238E27FC236}">
                  <a16:creationId xmlns:a16="http://schemas.microsoft.com/office/drawing/2014/main" id="{9C7451EB-CB60-04FB-272F-D9B2B9DF27C7}"/>
                </a:ext>
              </a:extLst>
            </p:cNvPr>
            <p:cNvSpPr txBox="1">
              <a:spLocks noChangeAspect="1"/>
            </p:cNvSpPr>
            <p:nvPr/>
          </p:nvSpPr>
          <p:spPr>
            <a:xfrm rot="18355685">
              <a:off x="8134177" y="3961452"/>
              <a:ext cx="2020748" cy="202004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90" name="Textfeld 7">
              <a:extLst>
                <a:ext uri="{FF2B5EF4-FFF2-40B4-BE49-F238E27FC236}">
                  <a16:creationId xmlns:a16="http://schemas.microsoft.com/office/drawing/2014/main" id="{94AF39B8-4581-4AC0-0C47-9CD5367A9F7B}"/>
                </a:ext>
              </a:extLst>
            </p:cNvPr>
            <p:cNvSpPr txBox="1">
              <a:spLocks/>
            </p:cNvSpPr>
            <p:nvPr/>
          </p:nvSpPr>
          <p:spPr>
            <a:xfrm rot="20035141">
              <a:off x="8105452" y="3932740"/>
              <a:ext cx="2078199" cy="20774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91" name="Textfeld 1">
              <a:extLst>
                <a:ext uri="{FF2B5EF4-FFF2-40B4-BE49-F238E27FC236}">
                  <a16:creationId xmlns:a16="http://schemas.microsoft.com/office/drawing/2014/main" id="{FB89F4D3-16BA-22CF-C16A-25F995D27C6F}"/>
                </a:ext>
              </a:extLst>
            </p:cNvPr>
            <p:cNvSpPr txBox="1">
              <a:spLocks/>
            </p:cNvSpPr>
            <p:nvPr/>
          </p:nvSpPr>
          <p:spPr>
            <a:xfrm rot="1519159">
              <a:off x="8105452" y="3932740"/>
              <a:ext cx="2078199" cy="20774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94" name="Textfeld 5">
              <a:extLst>
                <a:ext uri="{FF2B5EF4-FFF2-40B4-BE49-F238E27FC236}">
                  <a16:creationId xmlns:a16="http://schemas.microsoft.com/office/drawing/2014/main" id="{CB7D6075-A3E7-AB8B-A066-FA4F7CF3EFB9}"/>
                </a:ext>
              </a:extLst>
            </p:cNvPr>
            <p:cNvSpPr txBox="1">
              <a:spLocks noChangeAspect="1"/>
            </p:cNvSpPr>
            <p:nvPr/>
          </p:nvSpPr>
          <p:spPr>
            <a:xfrm rot="3155794">
              <a:off x="8140452" y="3970841"/>
              <a:ext cx="2020748" cy="202004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Down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  <p:sp>
          <p:nvSpPr>
            <p:cNvPr id="111" name="Textfeld 1">
              <a:extLst>
                <a:ext uri="{FF2B5EF4-FFF2-40B4-BE49-F238E27FC236}">
                  <a16:creationId xmlns:a16="http://schemas.microsoft.com/office/drawing/2014/main" id="{68D1A1EA-4E5A-2B55-73B0-D82EF51ED6E0}"/>
                </a:ext>
              </a:extLst>
            </p:cNvPr>
            <p:cNvSpPr txBox="1">
              <a:spLocks/>
            </p:cNvSpPr>
            <p:nvPr/>
          </p:nvSpPr>
          <p:spPr>
            <a:xfrm rot="10800000">
              <a:off x="8257852" y="4085140"/>
              <a:ext cx="2078199" cy="20774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2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Lorem</a:t>
              </a:r>
            </a:p>
          </p:txBody>
        </p:sp>
      </p:grpSp>
      <p:sp>
        <p:nvSpPr>
          <p:cNvPr id="100" name="Text Placeholder 15">
            <a:extLst>
              <a:ext uri="{FF2B5EF4-FFF2-40B4-BE49-F238E27FC236}">
                <a16:creationId xmlns:a16="http://schemas.microsoft.com/office/drawing/2014/main" id="{F5661BA3-DD7B-1924-EEEF-A3C45CF713C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55491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ircles, segment</a:t>
            </a:r>
          </a:p>
        </p:txBody>
      </p:sp>
    </p:spTree>
    <p:extLst>
      <p:ext uri="{BB962C8B-B14F-4D97-AF65-F5344CB8AC3E}">
        <p14:creationId xmlns:p14="http://schemas.microsoft.com/office/powerpoint/2010/main" val="388399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